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5.xml" ContentType="application/vnd.openxmlformats-officedocument.presentationml.tags+xml"/>
  <Override PartName="/ppt/notesSlides/notesSlide1.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255" r:id="rId4"/>
  </p:sldMasterIdLst>
  <p:notesMasterIdLst>
    <p:notesMasterId r:id="rId9"/>
  </p:notesMasterIdLst>
  <p:handoutMasterIdLst>
    <p:handoutMasterId r:id="rId10"/>
  </p:handoutMasterIdLst>
  <p:sldIdLst>
    <p:sldId id="276" r:id="rId5"/>
    <p:sldId id="2147483532" r:id="rId6"/>
    <p:sldId id="339" r:id="rId7"/>
    <p:sldId id="810" r:id="rId8"/>
  </p:sldIdLst>
  <p:sldSz cx="12192000" cy="6858000"/>
  <p:notesSz cx="6950075" cy="9236075"/>
  <p:custShowLst>
    <p:custShow name="Format Guide Workshop" id="0">
      <p:sldLst/>
    </p:custShow>
  </p:custShowLst>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93"/>
    <p:restoredTop sz="94651"/>
  </p:normalViewPr>
  <p:slideViewPr>
    <p:cSldViewPr snapToGrid="0">
      <p:cViewPr>
        <p:scale>
          <a:sx n="67" d="100"/>
          <a:sy n="67" d="100"/>
        </p:scale>
        <p:origin x="100" y="11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alla, Devansh" userId="a13ccba3-7667-45ae-9746-d7b45a17fb34" providerId="ADAL" clId="{3CE60E10-851A-4687-B20C-AF23A592B65C}"/>
    <pc:docChg chg="addSld delSld modSld">
      <pc:chgData name="Bhalla, Devansh" userId="a13ccba3-7667-45ae-9746-d7b45a17fb34" providerId="ADAL" clId="{3CE60E10-851A-4687-B20C-AF23A592B65C}" dt="2025-07-18T05:54:38.487" v="277" actId="47"/>
      <pc:docMkLst>
        <pc:docMk/>
      </pc:docMkLst>
      <pc:sldChg chg="modSp mod">
        <pc:chgData name="Bhalla, Devansh" userId="a13ccba3-7667-45ae-9746-d7b45a17fb34" providerId="ADAL" clId="{3CE60E10-851A-4687-B20C-AF23A592B65C}" dt="2025-07-18T03:51:11.440" v="40" actId="20577"/>
        <pc:sldMkLst>
          <pc:docMk/>
          <pc:sldMk cId="77049874" sldId="284"/>
        </pc:sldMkLst>
      </pc:sldChg>
      <pc:sldChg chg="addSp modSp mod">
        <pc:chgData name="Bhalla, Devansh" userId="a13ccba3-7667-45ae-9746-d7b45a17fb34" providerId="ADAL" clId="{3CE60E10-851A-4687-B20C-AF23A592B65C}" dt="2025-07-18T05:40:20.570" v="273"/>
        <pc:sldMkLst>
          <pc:docMk/>
          <pc:sldMk cId="1285419309" sldId="2147138902"/>
        </pc:sldMkLst>
      </pc:sldChg>
      <pc:sldChg chg="add del">
        <pc:chgData name="Bhalla, Devansh" userId="a13ccba3-7667-45ae-9746-d7b45a17fb34" providerId="ADAL" clId="{3CE60E10-851A-4687-B20C-AF23A592B65C}" dt="2025-07-18T05:54:34.803" v="276"/>
        <pc:sldMkLst>
          <pc:docMk/>
          <pc:sldMk cId="983752140" sldId="2147481001"/>
        </pc:sldMkLst>
      </pc:sldChg>
      <pc:sldChg chg="modSp mod">
        <pc:chgData name="Bhalla, Devansh" userId="a13ccba3-7667-45ae-9746-d7b45a17fb34" providerId="ADAL" clId="{3CE60E10-851A-4687-B20C-AF23A592B65C}" dt="2025-07-18T03:50:34.681" v="14" actId="20577"/>
        <pc:sldMkLst>
          <pc:docMk/>
          <pc:sldMk cId="4213329759" sldId="2147483528"/>
        </pc:sldMkLst>
      </pc:sldChg>
      <pc:sldChg chg="del">
        <pc:chgData name="Bhalla, Devansh" userId="a13ccba3-7667-45ae-9746-d7b45a17fb34" providerId="ADAL" clId="{3CE60E10-851A-4687-B20C-AF23A592B65C}" dt="2025-07-18T05:54:38.487" v="277" actId="47"/>
        <pc:sldMkLst>
          <pc:docMk/>
          <pc:sldMk cId="261771443" sldId="2147483531"/>
        </pc:sldMkLst>
      </pc:sldChg>
    </pc:docChg>
  </pc:docChgLst>
  <pc:docChgLst>
    <pc:chgData name="Srivastava, Riya" userId="37488e7d-5461-41e5-afc3-be9d5a4274c6" providerId="ADAL" clId="{C87E84B8-FDDB-4272-8C56-C97EEA3FEF58}"/>
    <pc:docChg chg="undo custSel addSld delSld modSld sldOrd">
      <pc:chgData name="Srivastava, Riya" userId="37488e7d-5461-41e5-afc3-be9d5a4274c6" providerId="ADAL" clId="{C87E84B8-FDDB-4272-8C56-C97EEA3FEF58}" dt="2025-07-18T12:31:10.741" v="1464"/>
      <pc:docMkLst>
        <pc:docMk/>
      </pc:docMkLst>
      <pc:sldChg chg="addSp delSp modSp mod">
        <pc:chgData name="Srivastava, Riya" userId="37488e7d-5461-41e5-afc3-be9d5a4274c6" providerId="ADAL" clId="{C87E84B8-FDDB-4272-8C56-C97EEA3FEF58}" dt="2025-07-18T01:51:08.874" v="304"/>
        <pc:sldMkLst>
          <pc:docMk/>
          <pc:sldMk cId="77049874" sldId="284"/>
        </pc:sldMkLst>
      </pc:sldChg>
      <pc:sldChg chg="modSp add mod ord">
        <pc:chgData name="Srivastava, Riya" userId="37488e7d-5461-41e5-afc3-be9d5a4274c6" providerId="ADAL" clId="{C87E84B8-FDDB-4272-8C56-C97EEA3FEF58}" dt="2025-07-18T11:55:32.309" v="1046" actId="14100"/>
        <pc:sldMkLst>
          <pc:docMk/>
          <pc:sldMk cId="2638143376" sldId="323"/>
        </pc:sldMkLst>
      </pc:sldChg>
      <pc:sldChg chg="addSp delSp modSp add del mod">
        <pc:chgData name="Srivastava, Riya" userId="37488e7d-5461-41e5-afc3-be9d5a4274c6" providerId="ADAL" clId="{C87E84B8-FDDB-4272-8C56-C97EEA3FEF58}" dt="2025-07-18T12:00:09.379" v="1462" actId="20577"/>
        <pc:sldMkLst>
          <pc:docMk/>
          <pc:sldMk cId="1831684040" sldId="339"/>
        </pc:sldMkLst>
      </pc:sldChg>
      <pc:sldChg chg="addSp modSp mod">
        <pc:chgData name="Srivastava, Riya" userId="37488e7d-5461-41e5-afc3-be9d5a4274c6" providerId="ADAL" clId="{C87E84B8-FDDB-4272-8C56-C97EEA3FEF58}" dt="2025-07-18T11:58:14.855" v="1256" actId="20577"/>
        <pc:sldMkLst>
          <pc:docMk/>
          <pc:sldMk cId="1285419309" sldId="2147138902"/>
        </pc:sldMkLst>
      </pc:sldChg>
      <pc:sldChg chg="addSp modSp mod">
        <pc:chgData name="Srivastava, Riya" userId="37488e7d-5461-41e5-afc3-be9d5a4274c6" providerId="ADAL" clId="{C87E84B8-FDDB-4272-8C56-C97EEA3FEF58}" dt="2025-07-18T11:58:26.944" v="1264" actId="20577"/>
        <pc:sldMkLst>
          <pc:docMk/>
          <pc:sldMk cId="983752140" sldId="2147481001"/>
        </pc:sldMkLst>
      </pc:sldChg>
      <pc:sldChg chg="modSp add del mod">
        <pc:chgData name="Srivastava, Riya" userId="37488e7d-5461-41e5-afc3-be9d5a4274c6" providerId="ADAL" clId="{C87E84B8-FDDB-4272-8C56-C97EEA3FEF58}" dt="2025-07-18T01:37:01.870" v="101" actId="2696"/>
        <pc:sldMkLst>
          <pc:docMk/>
          <pc:sldMk cId="984064866" sldId="2147483526"/>
        </pc:sldMkLst>
      </pc:sldChg>
      <pc:sldChg chg="addSp delSp modSp del mod">
        <pc:chgData name="Srivastava, Riya" userId="37488e7d-5461-41e5-afc3-be9d5a4274c6" providerId="ADAL" clId="{C87E84B8-FDDB-4272-8C56-C97EEA3FEF58}" dt="2025-07-18T02:02:08.478" v="649" actId="47"/>
        <pc:sldMkLst>
          <pc:docMk/>
          <pc:sldMk cId="4179000458" sldId="2147483527"/>
        </pc:sldMkLst>
      </pc:sldChg>
      <pc:sldChg chg="del">
        <pc:chgData name="Srivastava, Riya" userId="37488e7d-5461-41e5-afc3-be9d5a4274c6" providerId="ADAL" clId="{C87E84B8-FDDB-4272-8C56-C97EEA3FEF58}" dt="2025-07-18T01:29:29.689" v="75" actId="2696"/>
        <pc:sldMkLst>
          <pc:docMk/>
          <pc:sldMk cId="1455748735" sldId="2147483528"/>
        </pc:sldMkLst>
      </pc:sldChg>
      <pc:sldChg chg="addSp delSp modSp add mod">
        <pc:chgData name="Srivastava, Riya" userId="37488e7d-5461-41e5-afc3-be9d5a4274c6" providerId="ADAL" clId="{C87E84B8-FDDB-4272-8C56-C97EEA3FEF58}" dt="2025-07-18T12:31:10.741" v="1464"/>
        <pc:sldMkLst>
          <pc:docMk/>
          <pc:sldMk cId="4213329759" sldId="2147483528"/>
        </pc:sldMkLst>
      </pc:sldChg>
      <pc:sldChg chg="addSp delSp modSp del mod">
        <pc:chgData name="Srivastava, Riya" userId="37488e7d-5461-41e5-afc3-be9d5a4274c6" providerId="ADAL" clId="{C87E84B8-FDDB-4272-8C56-C97EEA3FEF58}" dt="2025-07-18T01:30:32.612" v="95" actId="2696"/>
        <pc:sldMkLst>
          <pc:docMk/>
          <pc:sldMk cId="3093396530" sldId="2147483530"/>
        </pc:sldMkLst>
      </pc:sldChg>
      <pc:sldChg chg="addSp modSp add mod">
        <pc:chgData name="Srivastava, Riya" userId="37488e7d-5461-41e5-afc3-be9d5a4274c6" providerId="ADAL" clId="{C87E84B8-FDDB-4272-8C56-C97EEA3FEF58}" dt="2025-07-18T04:22:37.501" v="1037" actId="20577"/>
        <pc:sldMkLst>
          <pc:docMk/>
          <pc:sldMk cId="261771443" sldId="2147483531"/>
        </pc:sldMkLst>
      </pc:sldChg>
      <pc:sldChg chg="add">
        <pc:chgData name="Srivastava, Riya" userId="37488e7d-5461-41e5-afc3-be9d5a4274c6" providerId="ADAL" clId="{C87E84B8-FDDB-4272-8C56-C97EEA3FEF58}" dt="2025-07-18T01:36:43.262" v="96"/>
        <pc:sldMkLst>
          <pc:docMk/>
          <pc:sldMk cId="436658887" sldId="2147483532"/>
        </pc:sldMkLst>
      </pc:sldChg>
    </pc:docChg>
  </pc:docChgLst>
  <pc:docChgLst>
    <pc:chgData name="Srivastava, Riya" userId="37488e7d-5461-41e5-afc3-be9d5a4274c6" providerId="ADAL" clId="{B050E4EE-D53B-5CEA-95B4-49A6AD1270B4}"/>
    <pc:docChg chg="undo custSel addSld delSld modSld">
      <pc:chgData name="Srivastava, Riya" userId="37488e7d-5461-41e5-afc3-be9d5a4274c6" providerId="ADAL" clId="{B050E4EE-D53B-5CEA-95B4-49A6AD1270B4}" dt="2025-11-26T12:37:03.775" v="34" actId="478"/>
      <pc:docMkLst>
        <pc:docMk/>
      </pc:docMkLst>
      <pc:sldChg chg="modSp mod">
        <pc:chgData name="Srivastava, Riya" userId="37488e7d-5461-41e5-afc3-be9d5a4274c6" providerId="ADAL" clId="{B050E4EE-D53B-5CEA-95B4-49A6AD1270B4}" dt="2025-11-26T12:36:37.117" v="22" actId="20577"/>
        <pc:sldMkLst>
          <pc:docMk/>
          <pc:sldMk cId="4231031513" sldId="276"/>
        </pc:sldMkLst>
        <pc:spChg chg="mod">
          <ac:chgData name="Srivastava, Riya" userId="37488e7d-5461-41e5-afc3-be9d5a4274c6" providerId="ADAL" clId="{B050E4EE-D53B-5CEA-95B4-49A6AD1270B4}" dt="2025-11-26T12:36:37.117" v="22" actId="20577"/>
          <ac:spMkLst>
            <pc:docMk/>
            <pc:sldMk cId="4231031513" sldId="276"/>
            <ac:spMk id="7" creationId="{D5FC4484-8125-4791-AE00-1BE5E2793F74}"/>
          </ac:spMkLst>
        </pc:spChg>
      </pc:sldChg>
      <pc:sldChg chg="del">
        <pc:chgData name="Srivastava, Riya" userId="37488e7d-5461-41e5-afc3-be9d5a4274c6" providerId="ADAL" clId="{B050E4EE-D53B-5CEA-95B4-49A6AD1270B4}" dt="2025-11-26T12:36:55.347" v="30" actId="2696"/>
        <pc:sldMkLst>
          <pc:docMk/>
          <pc:sldMk cId="77049874" sldId="284"/>
        </pc:sldMkLst>
      </pc:sldChg>
      <pc:sldChg chg="del">
        <pc:chgData name="Srivastava, Riya" userId="37488e7d-5461-41e5-afc3-be9d5a4274c6" providerId="ADAL" clId="{B050E4EE-D53B-5CEA-95B4-49A6AD1270B4}" dt="2025-11-26T12:36:54.905" v="29" actId="2696"/>
        <pc:sldMkLst>
          <pc:docMk/>
          <pc:sldMk cId="1171365080" sldId="286"/>
        </pc:sldMkLst>
      </pc:sldChg>
      <pc:sldChg chg="del">
        <pc:chgData name="Srivastava, Riya" userId="37488e7d-5461-41e5-afc3-be9d5a4274c6" providerId="ADAL" clId="{B050E4EE-D53B-5CEA-95B4-49A6AD1270B4}" dt="2025-11-26T12:36:46.180" v="27" actId="2696"/>
        <pc:sldMkLst>
          <pc:docMk/>
          <pc:sldMk cId="2638143376" sldId="323"/>
        </pc:sldMkLst>
      </pc:sldChg>
      <pc:sldChg chg="delSp add del mod">
        <pc:chgData name="Srivastava, Riya" userId="37488e7d-5461-41e5-afc3-be9d5a4274c6" providerId="ADAL" clId="{B050E4EE-D53B-5CEA-95B4-49A6AD1270B4}" dt="2025-11-26T12:37:03.775" v="34" actId="478"/>
        <pc:sldMkLst>
          <pc:docMk/>
          <pc:sldMk cId="1831684040" sldId="339"/>
        </pc:sldMkLst>
        <pc:spChg chg="del">
          <ac:chgData name="Srivastava, Riya" userId="37488e7d-5461-41e5-afc3-be9d5a4274c6" providerId="ADAL" clId="{B050E4EE-D53B-5CEA-95B4-49A6AD1270B4}" dt="2025-11-26T12:37:03.775" v="34" actId="478"/>
          <ac:spMkLst>
            <pc:docMk/>
            <pc:sldMk cId="1831684040" sldId="339"/>
            <ac:spMk id="5" creationId="{7607A245-A728-449D-C89E-263DE4EF08B1}"/>
          </ac:spMkLst>
        </pc:spChg>
      </pc:sldChg>
      <pc:sldChg chg="del">
        <pc:chgData name="Srivastava, Riya" userId="37488e7d-5461-41e5-afc3-be9d5a4274c6" providerId="ADAL" clId="{B050E4EE-D53B-5CEA-95B4-49A6AD1270B4}" dt="2025-11-26T12:36:43.089" v="24" actId="2696"/>
        <pc:sldMkLst>
          <pc:docMk/>
          <pc:sldMk cId="4124901022" sldId="812"/>
        </pc:sldMkLst>
      </pc:sldChg>
      <pc:sldChg chg="del">
        <pc:chgData name="Srivastava, Riya" userId="37488e7d-5461-41e5-afc3-be9d5a4274c6" providerId="ADAL" clId="{B050E4EE-D53B-5CEA-95B4-49A6AD1270B4}" dt="2025-11-26T12:36:40.165" v="23" actId="2696"/>
        <pc:sldMkLst>
          <pc:docMk/>
          <pc:sldMk cId="1285419309" sldId="2147138902"/>
        </pc:sldMkLst>
      </pc:sldChg>
      <pc:sldChg chg="del">
        <pc:chgData name="Srivastava, Riya" userId="37488e7d-5461-41e5-afc3-be9d5a4274c6" providerId="ADAL" clId="{B050E4EE-D53B-5CEA-95B4-49A6AD1270B4}" dt="2025-11-26T12:36:55.838" v="31" actId="2696"/>
        <pc:sldMkLst>
          <pc:docMk/>
          <pc:sldMk cId="983752140" sldId="2147481001"/>
        </pc:sldMkLst>
      </pc:sldChg>
      <pc:sldChg chg="del">
        <pc:chgData name="Srivastava, Riya" userId="37488e7d-5461-41e5-afc3-be9d5a4274c6" providerId="ADAL" clId="{B050E4EE-D53B-5CEA-95B4-49A6AD1270B4}" dt="2025-11-26T12:36:43.936" v="25" actId="2696"/>
        <pc:sldMkLst>
          <pc:docMk/>
          <pc:sldMk cId="3622272285" sldId="2147483524"/>
        </pc:sldMkLst>
      </pc:sldChg>
      <pc:sldChg chg="del">
        <pc:chgData name="Srivastava, Riya" userId="37488e7d-5461-41e5-afc3-be9d5a4274c6" providerId="ADAL" clId="{B050E4EE-D53B-5CEA-95B4-49A6AD1270B4}" dt="2025-11-26T12:36:45.498" v="26" actId="2696"/>
        <pc:sldMkLst>
          <pc:docMk/>
          <pc:sldMk cId="2648019609" sldId="2147483525"/>
        </pc:sldMkLst>
      </pc:sldChg>
      <pc:sldChg chg="del">
        <pc:chgData name="Srivastava, Riya" userId="37488e7d-5461-41e5-afc3-be9d5a4274c6" providerId="ADAL" clId="{B050E4EE-D53B-5CEA-95B4-49A6AD1270B4}" dt="2025-11-26T12:36:54.447" v="28" actId="2696"/>
        <pc:sldMkLst>
          <pc:docMk/>
          <pc:sldMk cId="4213329759" sldId="2147483528"/>
        </pc:sldMkLst>
      </pc:sldChg>
    </pc:docChg>
  </pc:docChgLst>
  <pc:docChgLst>
    <pc:chgData name="Srivastava, Riya" userId="37488e7d-5461-41e5-afc3-be9d5a4274c6" providerId="ADAL" clId="{2653D0C6-C558-412F-B710-8B85EADF916D}"/>
    <pc:docChg chg="modSld">
      <pc:chgData name="Srivastava, Riya" userId="37488e7d-5461-41e5-afc3-be9d5a4274c6" providerId="ADAL" clId="{2653D0C6-C558-412F-B710-8B85EADF916D}" dt="2025-08-31T12:53:51.138" v="1" actId="164"/>
      <pc:docMkLst>
        <pc:docMk/>
      </pc:docMkLst>
      <pc:sldChg chg="addSp modSp mod">
        <pc:chgData name="Srivastava, Riya" userId="37488e7d-5461-41e5-afc3-be9d5a4274c6" providerId="ADAL" clId="{2653D0C6-C558-412F-B710-8B85EADF916D}" dt="2025-08-31T12:53:51.138" v="1" actId="164"/>
        <pc:sldMkLst>
          <pc:docMk/>
          <pc:sldMk cId="1831684040" sldId="339"/>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1/26/2025</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latin typeface="+mn-lt"/>
              <a:ea typeface="+mn-ea"/>
              <a:cs typeface="+mn-cs"/>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defRPr>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defRPr>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defRPr>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defRPr>
            </a:lvl1pPr>
          </a:lstStyle>
          <a:p>
            <a:fld id="{F2C7CF5F-7CF3-4DF3-838A-EE34544862CC}" type="datetimeFigureOut">
              <a:rPr lang="en-US" smtClean="0"/>
              <a:pPr/>
              <a:t>11/26/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ED875-7CA7-4683-B586-34E1A4A09D12}" type="slidenum">
              <a:rPr lang="en-US" smtClean="0"/>
              <a:t>0</a:t>
            </a:fld>
            <a:endParaRPr lang="en-US"/>
          </a:p>
        </p:txBody>
      </p:sp>
    </p:spTree>
    <p:extLst>
      <p:ext uri="{BB962C8B-B14F-4D97-AF65-F5344CB8AC3E}">
        <p14:creationId xmlns:p14="http://schemas.microsoft.com/office/powerpoint/2010/main" val="3013257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ED875-7CA7-4683-B586-34E1A4A09D12}" type="slidenum">
              <a:rPr lang="en-US" smtClean="0"/>
              <a:t>1</a:t>
            </a:fld>
            <a:endParaRPr lang="en-US"/>
          </a:p>
        </p:txBody>
      </p:sp>
    </p:spTree>
    <p:extLst>
      <p:ext uri="{BB962C8B-B14F-4D97-AF65-F5344CB8AC3E}">
        <p14:creationId xmlns:p14="http://schemas.microsoft.com/office/powerpoint/2010/main" val="412292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0100926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2.jpeg"/><Relationship Id="rId5" Type="http://schemas.openxmlformats.org/officeDocument/2006/relationships/image" Target="../media/image7.pn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jpeg"/><Relationship Id="rId5" Type="http://schemas.openxmlformats.org/officeDocument/2006/relationships/image" Target="../media/image7.pn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2.jpeg"/><Relationship Id="rId5" Type="http://schemas.openxmlformats.org/officeDocument/2006/relationships/image" Target="../media/image7.png"/><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jpeg"/><Relationship Id="rId5" Type="http://schemas.openxmlformats.org/officeDocument/2006/relationships/image" Target="../media/image8.png"/><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2.jpeg"/><Relationship Id="rId5" Type="http://schemas.openxmlformats.org/officeDocument/2006/relationships/image" Target="../media/image9.png"/><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2.jpeg"/><Relationship Id="rId5" Type="http://schemas.openxmlformats.org/officeDocument/2006/relationships/image" Target="../media/image11.png"/><Relationship Id="rId4" Type="http://schemas.openxmlformats.org/officeDocument/2006/relationships/image" Target="../media/image10.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2.jpeg"/><Relationship Id="rId5" Type="http://schemas.openxmlformats.org/officeDocument/2006/relationships/image" Target="../media/image9.png"/><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2.jpeg"/><Relationship Id="rId5" Type="http://schemas.openxmlformats.org/officeDocument/2006/relationships/image" Target="../media/image8.png"/><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jpeg"/><Relationship Id="rId5" Type="http://schemas.openxmlformats.org/officeDocument/2006/relationships/image" Target="../media/image9.png"/><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2.jpeg"/><Relationship Id="rId5" Type="http://schemas.openxmlformats.org/officeDocument/2006/relationships/image" Target="../media/image8.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jpeg"/><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jpeg"/><Relationship Id="rId5" Type="http://schemas.openxmlformats.org/officeDocument/2006/relationships/image" Target="../media/image9.png"/><Relationship Id="rId4"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jpeg"/><Relationship Id="rId4" Type="http://schemas.openxmlformats.org/officeDocument/2006/relationships/image" Target="../media/image6.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2.jpeg"/><Relationship Id="rId5" Type="http://schemas.openxmlformats.org/officeDocument/2006/relationships/image" Target="../media/image12.png"/><Relationship Id="rId4" Type="http://schemas.openxmlformats.org/officeDocument/2006/relationships/image" Target="../media/image10.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jpeg"/><Relationship Id="rId4"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jpeg"/><Relationship Id="rId4" Type="http://schemas.openxmlformats.org/officeDocument/2006/relationships/image" Target="../media/image6.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31.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jpeg"/><Relationship Id="rId4" Type="http://schemas.openxmlformats.org/officeDocument/2006/relationships/image" Target="../media/image6.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6.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6.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2.jpeg"/><Relationship Id="rId5" Type="http://schemas.openxmlformats.org/officeDocument/2006/relationships/image" Target="../media/image7.png"/><Relationship Id="rId4" Type="http://schemas.openxmlformats.org/officeDocument/2006/relationships/image" Target="../media/image6.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2.jpeg"/><Relationship Id="rId5" Type="http://schemas.openxmlformats.org/officeDocument/2006/relationships/image" Target="../media/image7.png"/><Relationship Id="rId4" Type="http://schemas.openxmlformats.org/officeDocument/2006/relationships/image" Target="../media/image6.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2.jpeg"/><Relationship Id="rId5" Type="http://schemas.openxmlformats.org/officeDocument/2006/relationships/image" Target="../media/image7.png"/><Relationship Id="rId4" Type="http://schemas.openxmlformats.org/officeDocument/2006/relationships/image" Target="../media/image6.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3.xml"/><Relationship Id="rId6" Type="http://schemas.openxmlformats.org/officeDocument/2006/relationships/image" Target="../media/image2.jpeg"/><Relationship Id="rId5" Type="http://schemas.openxmlformats.org/officeDocument/2006/relationships/image" Target="../media/image7.png"/><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4.xml"/><Relationship Id="rId6" Type="http://schemas.openxmlformats.org/officeDocument/2006/relationships/image" Target="../media/image2.jpeg"/><Relationship Id="rId5" Type="http://schemas.openxmlformats.org/officeDocument/2006/relationships/image" Target="../media/image7.png"/><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2.jpeg"/><Relationship Id="rId5" Type="http://schemas.openxmlformats.org/officeDocument/2006/relationships/image" Target="../media/image7.png"/><Relationship Id="rId4" Type="http://schemas.openxmlformats.org/officeDocument/2006/relationships/image" Target="../media/image6.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6.xml"/><Relationship Id="rId6" Type="http://schemas.openxmlformats.org/officeDocument/2006/relationships/image" Target="../media/image2.jpeg"/><Relationship Id="rId5" Type="http://schemas.openxmlformats.org/officeDocument/2006/relationships/image" Target="../media/image8.png"/><Relationship Id="rId4" Type="http://schemas.openxmlformats.org/officeDocument/2006/relationships/image" Target="../media/image10.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7.xml"/><Relationship Id="rId6" Type="http://schemas.openxmlformats.org/officeDocument/2006/relationships/image" Target="../media/image2.jpeg"/><Relationship Id="rId5" Type="http://schemas.openxmlformats.org/officeDocument/2006/relationships/image" Target="../media/image9.png"/><Relationship Id="rId4" Type="http://schemas.openxmlformats.org/officeDocument/2006/relationships/image" Target="../media/image6.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8.xml"/><Relationship Id="rId6" Type="http://schemas.openxmlformats.org/officeDocument/2006/relationships/image" Target="../media/image2.jpeg"/><Relationship Id="rId5" Type="http://schemas.openxmlformats.org/officeDocument/2006/relationships/image" Target="../media/image11.png"/><Relationship Id="rId4" Type="http://schemas.openxmlformats.org/officeDocument/2006/relationships/image" Target="../media/image6.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9.xml"/><Relationship Id="rId6" Type="http://schemas.openxmlformats.org/officeDocument/2006/relationships/image" Target="../media/image2.jpeg"/><Relationship Id="rId5" Type="http://schemas.openxmlformats.org/officeDocument/2006/relationships/image" Target="../media/image9.png"/><Relationship Id="rId4" Type="http://schemas.openxmlformats.org/officeDocument/2006/relationships/image" Target="../media/image6.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0.xml"/><Relationship Id="rId6" Type="http://schemas.openxmlformats.org/officeDocument/2006/relationships/image" Target="../media/image2.jpeg"/><Relationship Id="rId5" Type="http://schemas.openxmlformats.org/officeDocument/2006/relationships/image" Target="../media/image8.png"/><Relationship Id="rId4" Type="http://schemas.openxmlformats.org/officeDocument/2006/relationships/image" Target="../media/image6.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1.xml"/><Relationship Id="rId6" Type="http://schemas.openxmlformats.org/officeDocument/2006/relationships/image" Target="../media/image2.jpeg"/><Relationship Id="rId5" Type="http://schemas.openxmlformats.org/officeDocument/2006/relationships/image" Target="../media/image9.png"/><Relationship Id="rId4" Type="http://schemas.openxmlformats.org/officeDocument/2006/relationships/image" Target="../media/image6.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2.xml"/><Relationship Id="rId6" Type="http://schemas.openxmlformats.org/officeDocument/2006/relationships/image" Target="../media/image2.jpeg"/><Relationship Id="rId5" Type="http://schemas.openxmlformats.org/officeDocument/2006/relationships/image" Target="../media/image8.png"/><Relationship Id="rId4" Type="http://schemas.openxmlformats.org/officeDocument/2006/relationships/image" Target="../media/image6.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3.xml"/><Relationship Id="rId6" Type="http://schemas.openxmlformats.org/officeDocument/2006/relationships/image" Target="../media/image2.jpeg"/><Relationship Id="rId5" Type="http://schemas.openxmlformats.org/officeDocument/2006/relationships/image" Target="../media/image9.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jpeg"/><Relationship Id="rId4" Type="http://schemas.openxmlformats.org/officeDocument/2006/relationships/image" Target="../media/image6.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2.jpeg"/><Relationship Id="rId4" Type="http://schemas.openxmlformats.org/officeDocument/2006/relationships/image" Target="../media/image6.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6.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6.xml"/><Relationship Id="rId6" Type="http://schemas.openxmlformats.org/officeDocument/2006/relationships/image" Target="../media/image2.jpeg"/><Relationship Id="rId5" Type="http://schemas.openxmlformats.org/officeDocument/2006/relationships/image" Target="../media/image12.png"/><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7.xml"/><Relationship Id="rId5" Type="http://schemas.openxmlformats.org/officeDocument/2006/relationships/image" Target="../media/image2.jpeg"/><Relationship Id="rId4" Type="http://schemas.openxmlformats.org/officeDocument/2006/relationships/image" Target="../media/image6.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8.xml"/><Relationship Id="rId6" Type="http://schemas.openxmlformats.org/officeDocument/2006/relationships/image" Target="../media/image2.jpeg"/><Relationship Id="rId5" Type="http://schemas.openxmlformats.org/officeDocument/2006/relationships/image" Target="../media/image8.png"/><Relationship Id="rId4" Type="http://schemas.openxmlformats.org/officeDocument/2006/relationships/image" Target="../media/image6.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2.jpeg"/><Relationship Id="rId4"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6.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6.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62.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jpeg"/><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6.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7.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8.xml"/><Relationship Id="rId6" Type="http://schemas.openxmlformats.org/officeDocument/2006/relationships/image" Target="../media/image2.jpeg"/><Relationship Id="rId5" Type="http://schemas.openxmlformats.org/officeDocument/2006/relationships/image" Target="../media/image7.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73.xml"/><Relationship Id="rId6" Type="http://schemas.openxmlformats.org/officeDocument/2006/relationships/image" Target="../media/image2.jpeg"/><Relationship Id="rId5" Type="http://schemas.openxmlformats.org/officeDocument/2006/relationships/image" Target="../media/image7.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4.xml"/><Relationship Id="rId6" Type="http://schemas.openxmlformats.org/officeDocument/2006/relationships/image" Target="../media/image2.jpeg"/><Relationship Id="rId5" Type="http://schemas.openxmlformats.org/officeDocument/2006/relationships/image" Target="../media/image8.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jpeg"/><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2.jpeg"/><Relationship Id="rId5" Type="http://schemas.openxmlformats.org/officeDocument/2006/relationships/image" Target="../media/image7.png"/><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jpeg"/><Relationship Id="rId5" Type="http://schemas.openxmlformats.org/officeDocument/2006/relationships/image" Target="../media/image7.png"/><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86798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8A65DAEB-4B78-4C24-9B68-2316A0E49B76}"/>
              </a:ext>
            </a:extLst>
          </p:cNvPr>
          <p:cNvPicPr>
            <a:picLocks noChangeAspect="1"/>
          </p:cNvPicPr>
          <p:nvPr userDrawn="1"/>
        </p:nvPicPr>
        <p:blipFill>
          <a:blip r:embed="rId6"/>
          <a:srcRect t="221" b="221"/>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7" name="Rectangle 16">
            <a:extLst>
              <a:ext uri="{FF2B5EF4-FFF2-40B4-BE49-F238E27FC236}">
                <a16:creationId xmlns:a16="http://schemas.microsoft.com/office/drawing/2014/main" id="{256AF5BE-2844-4BA1-87ED-C61CFE4F8E8B}"/>
              </a:ext>
            </a:extLst>
          </p:cNvPr>
          <p:cNvSpPr/>
          <p:nvPr userDrawn="1"/>
        </p:nvSpPr>
        <p:spPr>
          <a:xfrm>
            <a:off x="0" y="0"/>
            <a:ext cx="12192000" cy="6858000"/>
          </a:xfrm>
          <a:prstGeom prst="rect">
            <a:avLst/>
          </a:prstGeom>
          <a:gradFill flip="none" rotWithShape="1">
            <a:gsLst>
              <a:gs pos="0">
                <a:srgbClr val="00598E">
                  <a:alpha val="80000"/>
                </a:srgbClr>
              </a:gs>
              <a:gs pos="30000">
                <a:srgbClr val="0DA3E2">
                  <a:alpha val="63000"/>
                </a:srgbClr>
              </a:gs>
              <a:gs pos="62000">
                <a:srgbClr val="FFFFFF">
                  <a:alpha val="56000"/>
                </a:srgbClr>
              </a:gs>
            </a:gsLst>
            <a:lin ang="11400000" scaled="0"/>
            <a:tileRect/>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Trebuchet MS"/>
              <a:ea typeface="+mn-ea"/>
              <a:cs typeface="+mn-cs"/>
            </a:endParaRPr>
          </a:p>
        </p:txBody>
      </p:sp>
      <p:sp>
        <p:nvSpPr>
          <p:cNvPr id="22" name="Text Placeholder 6"/>
          <p:cNvSpPr>
            <a:spLocks noGrp="1"/>
          </p:cNvSpPr>
          <p:nvPr>
            <p:ph type="body" sz="quarter" idx="12" hasCustomPrompt="1"/>
          </p:nvPr>
        </p:nvSpPr>
        <p:spPr bwMode="black">
          <a:xfrm>
            <a:off x="628650" y="5541073"/>
            <a:ext cx="5550085" cy="327148"/>
          </a:xfrm>
          <a:prstGeom prst="rect">
            <a:avLst/>
          </a:prstGeom>
          <a:noFill/>
        </p:spPr>
        <p:txBody>
          <a:bodyPr anchor="ctr"/>
          <a:lstStyle>
            <a:lvl1pPr algn="l">
              <a:lnSpc>
                <a:spcPct val="110000"/>
              </a:lnSpc>
              <a:buNone/>
              <a:defRPr sz="1200" b="1" cap="all" spc="300" baseline="0">
                <a:solidFill>
                  <a:srgbClr val="333333"/>
                </a:solidFill>
                <a:latin typeface="+mn-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628650" y="3946287"/>
            <a:ext cx="5550085" cy="436195"/>
          </a:xfrm>
          <a:prstGeom prst="rect">
            <a:avLst/>
          </a:prstGeom>
        </p:spPr>
        <p:txBody>
          <a:bodyPr anchor="ctr"/>
          <a:lstStyle>
            <a:lvl1pPr marL="0" indent="0" algn="l">
              <a:lnSpc>
                <a:spcPct val="110000"/>
              </a:lnSpc>
              <a:buNone/>
              <a:defRPr sz="1600" baseline="0">
                <a:solidFill>
                  <a:srgbClr val="333333"/>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628650" y="2279650"/>
            <a:ext cx="6064248" cy="1049546"/>
          </a:xfrm>
          <a:prstGeom prst="rect">
            <a:avLst/>
          </a:prstGeom>
        </p:spPr>
        <p:txBody>
          <a:bodyPr vert="horz" anchor="b">
            <a:normAutofit/>
          </a:bodyPr>
          <a:lstStyle>
            <a:lvl1pPr algn="l">
              <a:lnSpc>
                <a:spcPct val="93000"/>
              </a:lnSpc>
              <a:defRPr sz="4800" baseline="0">
                <a:solidFill>
                  <a:srgbClr val="00598E"/>
                </a:solidFill>
                <a:latin typeface="+mj-lt"/>
                <a:ea typeface="+mj-ea"/>
                <a:cs typeface="+mj-cs"/>
                <a:sym typeface="Trebuchet MS" panose="020B0603020202020204" pitchFamily="34" charset="0"/>
              </a:defRPr>
            </a:lvl1pPr>
          </a:lstStyle>
          <a:p>
            <a:r>
              <a:rPr lang="en-US"/>
              <a:t>Title in Title Case</a:t>
            </a:r>
          </a:p>
        </p:txBody>
      </p:sp>
      <p:cxnSp>
        <p:nvCxnSpPr>
          <p:cNvPr id="38" name="Straight Connector 37">
            <a:extLst>
              <a:ext uri="{FF2B5EF4-FFF2-40B4-BE49-F238E27FC236}">
                <a16:creationId xmlns:a16="http://schemas.microsoft.com/office/drawing/2014/main" id="{D296E343-7AC1-43A7-AA66-BE81741FBE37}"/>
              </a:ext>
            </a:extLst>
          </p:cNvPr>
          <p:cNvCxnSpPr/>
          <p:nvPr userDrawn="1"/>
        </p:nvCxnSpPr>
        <p:spPr>
          <a:xfrm>
            <a:off x="628650" y="3637742"/>
            <a:ext cx="6064248" cy="0"/>
          </a:xfrm>
          <a:prstGeom prst="line">
            <a:avLst/>
          </a:prstGeom>
          <a:noFill/>
          <a:ln w="28575" cap="rnd" cmpd="sng" algn="ctr">
            <a:solidFill>
              <a:srgbClr val="0DA3E2"/>
            </a:solidFill>
            <a:prstDash val="solid"/>
            <a:round/>
          </a:ln>
          <a:effectLst/>
        </p:spPr>
      </p:cxn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2" name="Picture 11">
            <a:extLst>
              <a:ext uri="{FF2B5EF4-FFF2-40B4-BE49-F238E27FC236}">
                <a16:creationId xmlns:a16="http://schemas.microsoft.com/office/drawing/2014/main" id="{4C2BA6ED-33BB-4396-9624-6996AA640F0C}"/>
              </a:ext>
            </a:extLst>
          </p:cNvPr>
          <p:cNvPicPr>
            <a:picLocks noChangeAspect="1"/>
          </p:cNvPicPr>
          <p:nvPr userDrawn="1"/>
        </p:nvPicPr>
        <p:blipFill>
          <a:blip r:embed="rId7"/>
          <a:stretch>
            <a:fillRect/>
          </a:stretch>
        </p:blipFill>
        <p:spPr>
          <a:xfrm>
            <a:off x="628650" y="750017"/>
            <a:ext cx="1619250" cy="722064"/>
          </a:xfrm>
          <a:prstGeom prst="rect">
            <a:avLst/>
          </a:prstGeom>
        </p:spPr>
      </p:pic>
    </p:spTree>
    <p:extLst>
      <p:ext uri="{BB962C8B-B14F-4D97-AF65-F5344CB8AC3E}">
        <p14:creationId xmlns:p14="http://schemas.microsoft.com/office/powerpoint/2010/main" val="3976541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4DCA513-09D7-4CF6-BE12-862B5B20C12A}"/>
              </a:ext>
            </a:extLst>
          </p:cNvPr>
          <p:cNvGraphicFramePr>
            <a:graphicFrameLocks noChangeAspect="1"/>
          </p:cNvGraphicFramePr>
          <p:nvPr userDrawn="1">
            <p:custDataLst>
              <p:tags r:id="rId1"/>
            </p:custDataLst>
            <p:extLst>
              <p:ext uri="{D42A27DB-BD31-4B8C-83A1-F6EECF244321}">
                <p14:modId xmlns:p14="http://schemas.microsoft.com/office/powerpoint/2010/main" val="1718153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C4DCA513-09D7-4CF6-BE12-862B5B20C1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17" name="Picture 16">
            <a:extLst>
              <a:ext uri="{FF2B5EF4-FFF2-40B4-BE49-F238E27FC236}">
                <a16:creationId xmlns:a16="http://schemas.microsoft.com/office/drawing/2014/main" id="{A1AC68DB-55D9-48A4-A582-25EEDCF054C6}"/>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115040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50FF09A-78E4-4286-930A-95EF8FAD061B}"/>
              </a:ext>
            </a:extLst>
          </p:cNvPr>
          <p:cNvGraphicFramePr>
            <a:graphicFrameLocks noChangeAspect="1"/>
          </p:cNvGraphicFramePr>
          <p:nvPr userDrawn="1">
            <p:custDataLst>
              <p:tags r:id="rId1"/>
            </p:custDataLst>
            <p:extLst>
              <p:ext uri="{D42A27DB-BD31-4B8C-83A1-F6EECF244321}">
                <p14:modId xmlns:p14="http://schemas.microsoft.com/office/powerpoint/2010/main" val="1675625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550FF09A-78E4-4286-930A-95EF8FAD06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18" name="Picture 17">
            <a:extLst>
              <a:ext uri="{FF2B5EF4-FFF2-40B4-BE49-F238E27FC236}">
                <a16:creationId xmlns:a16="http://schemas.microsoft.com/office/drawing/2014/main" id="{FF879786-45DE-4C99-B435-97D00339BC2A}"/>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3137349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045E9D-5968-4079-A7BE-0A521CA6B366}"/>
              </a:ext>
            </a:extLst>
          </p:cNvPr>
          <p:cNvGraphicFramePr>
            <a:graphicFrameLocks noChangeAspect="1"/>
          </p:cNvGraphicFramePr>
          <p:nvPr userDrawn="1">
            <p:custDataLst>
              <p:tags r:id="rId1"/>
            </p:custDataLst>
            <p:extLst>
              <p:ext uri="{D42A27DB-BD31-4B8C-83A1-F6EECF244321}">
                <p14:modId xmlns:p14="http://schemas.microsoft.com/office/powerpoint/2010/main" val="2682966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3E045E9D-5968-4079-A7BE-0A521CA6B3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pic>
        <p:nvPicPr>
          <p:cNvPr id="17" name="Picture 16">
            <a:extLst>
              <a:ext uri="{FF2B5EF4-FFF2-40B4-BE49-F238E27FC236}">
                <a16:creationId xmlns:a16="http://schemas.microsoft.com/office/drawing/2014/main" id="{BCFCF61D-E3A1-4693-8A30-67B69269DF39}"/>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1871444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CD30B8E-E981-46E3-9736-D93F210EBB9F}"/>
              </a:ext>
            </a:extLst>
          </p:cNvPr>
          <p:cNvGraphicFramePr>
            <a:graphicFrameLocks noChangeAspect="1"/>
          </p:cNvGraphicFramePr>
          <p:nvPr userDrawn="1">
            <p:custDataLst>
              <p:tags r:id="rId1"/>
            </p:custDataLst>
            <p:extLst>
              <p:ext uri="{D42A27DB-BD31-4B8C-83A1-F6EECF244321}">
                <p14:modId xmlns:p14="http://schemas.microsoft.com/office/powerpoint/2010/main" val="1024021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CD30B8E-E981-46E3-9736-D93F210EBB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baseline="0">
                <a:solidFill>
                  <a:srgbClr val="0DA3E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7163A4AA-47C5-47B2-B9C0-0131938E4291}"/>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867809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4CA8F2A-315B-4143-8FC0-4F02186C5BA9}"/>
              </a:ext>
            </a:extLst>
          </p:cNvPr>
          <p:cNvGraphicFramePr>
            <a:graphicFrameLocks noChangeAspect="1"/>
          </p:cNvGraphicFramePr>
          <p:nvPr userDrawn="1">
            <p:custDataLst>
              <p:tags r:id="rId1"/>
            </p:custDataLst>
            <p:extLst>
              <p:ext uri="{D42A27DB-BD31-4B8C-83A1-F6EECF244321}">
                <p14:modId xmlns:p14="http://schemas.microsoft.com/office/powerpoint/2010/main" val="505860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64CA8F2A-315B-4143-8FC0-4F02186C5B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97A56"/>
              </a:gs>
              <a:gs pos="100000">
                <a:srgbClr val="0DA3E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2400" baseline="0">
                <a:solidFill>
                  <a:srgbClr val="FFFFFF"/>
                </a:solidFill>
                <a:latin typeface="+mj-lt"/>
                <a:ea typeface="+mj-ea"/>
                <a:cs typeface="+mj-cs"/>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a:extLst>
              <a:ext uri="{FF2B5EF4-FFF2-40B4-BE49-F238E27FC236}">
                <a16:creationId xmlns:a16="http://schemas.microsoft.com/office/drawing/2014/main" id="{FD051E95-B26D-41EA-B0A4-FF645D1F2FB4}"/>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4110254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364059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DA3E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C70ADC9B-5F66-41BA-8EB2-BA6F6C1E9371}"/>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1062096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60EC33-6A3F-4EB8-ABB0-7FB8ED0C8DD5}"/>
              </a:ext>
            </a:extLst>
          </p:cNvPr>
          <p:cNvGraphicFramePr>
            <a:graphicFrameLocks noChangeAspect="1"/>
          </p:cNvGraphicFramePr>
          <p:nvPr userDrawn="1">
            <p:custDataLst>
              <p:tags r:id="rId1"/>
            </p:custDataLst>
            <p:extLst>
              <p:ext uri="{D42A27DB-BD31-4B8C-83A1-F6EECF244321}">
                <p14:modId xmlns:p14="http://schemas.microsoft.com/office/powerpoint/2010/main" val="22095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860EC33-6A3F-4EB8-ABB0-7FB8ED0C8D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97A56"/>
              </a:gs>
              <a:gs pos="100000">
                <a:srgbClr val="0DA3E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2" name="Picture 11">
            <a:extLst>
              <a:ext uri="{FF2B5EF4-FFF2-40B4-BE49-F238E27FC236}">
                <a16:creationId xmlns:a16="http://schemas.microsoft.com/office/drawing/2014/main" id="{C127C478-E110-45F7-96DE-B7B0307F5E65}"/>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3596033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C04315C-837E-4E13-A95A-F5A90B37C8C4}"/>
              </a:ext>
            </a:extLst>
          </p:cNvPr>
          <p:cNvGraphicFramePr>
            <a:graphicFrameLocks noChangeAspect="1"/>
          </p:cNvGraphicFramePr>
          <p:nvPr userDrawn="1">
            <p:custDataLst>
              <p:tags r:id="rId1"/>
            </p:custDataLst>
            <p:extLst>
              <p:ext uri="{D42A27DB-BD31-4B8C-83A1-F6EECF244321}">
                <p14:modId xmlns:p14="http://schemas.microsoft.com/office/powerpoint/2010/main" val="2673248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FC04315C-837E-4E13-A95A-F5A90B37C8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1" i="0" u="none" kern="1200" spc="0">
                <a:solidFill>
                  <a:srgbClr val="0DA3E2"/>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AFF1BB17-BADC-417B-8C5E-1962902457D8}"/>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3218313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BB5CF90-C5A2-4D75-B364-28A7E47A644F}"/>
              </a:ext>
            </a:extLst>
          </p:cNvPr>
          <p:cNvGraphicFramePr>
            <a:graphicFrameLocks noChangeAspect="1"/>
          </p:cNvGraphicFramePr>
          <p:nvPr userDrawn="1">
            <p:custDataLst>
              <p:tags r:id="rId1"/>
            </p:custDataLst>
            <p:extLst>
              <p:ext uri="{D42A27DB-BD31-4B8C-83A1-F6EECF244321}">
                <p14:modId xmlns:p14="http://schemas.microsoft.com/office/powerpoint/2010/main" val="1213161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3BB5CF90-C5A2-4D75-B364-28A7E47A64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97A56"/>
              </a:gs>
              <a:gs pos="100000">
                <a:srgbClr val="0DA3E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a:extLst>
              <a:ext uri="{FF2B5EF4-FFF2-40B4-BE49-F238E27FC236}">
                <a16:creationId xmlns:a16="http://schemas.microsoft.com/office/drawing/2014/main" id="{6A2E1245-CC97-4940-BB29-1BA5401B8BB4}"/>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331125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23CFEBF-5444-4B16-B5BD-B31B89D49336}"/>
              </a:ext>
            </a:extLst>
          </p:cNvPr>
          <p:cNvGraphicFramePr>
            <a:graphicFrameLocks noChangeAspect="1"/>
          </p:cNvGraphicFramePr>
          <p:nvPr userDrawn="1">
            <p:custDataLst>
              <p:tags r:id="rId1"/>
            </p:custDataLst>
            <p:extLst>
              <p:ext uri="{D42A27DB-BD31-4B8C-83A1-F6EECF244321}">
                <p14:modId xmlns:p14="http://schemas.microsoft.com/office/powerpoint/2010/main" val="2167982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B23CFEBF-5444-4B16-B5BD-B31B89D493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1" i="0" u="none" kern="1200" spc="0">
                <a:solidFill>
                  <a:srgbClr val="0DA3E2"/>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40AE63AF-0540-4093-BF8B-D76292F4D230}"/>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2894321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dditional Divider">
    <p:bg>
      <p:bgPr>
        <a:gradFill flip="none" rotWithShape="1">
          <a:gsLst>
            <a:gs pos="8000">
              <a:srgbClr val="197A56"/>
            </a:gs>
            <a:gs pos="69000">
              <a:srgbClr val="0DA3E2"/>
            </a:gs>
          </a:gsLst>
          <a:path path="circle">
            <a:fillToRect l="100000" t="100000"/>
          </a:path>
          <a:tileRect r="-100000" b="-100000"/>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62F87D5-8264-0653-06EF-689D2262778F}"/>
              </a:ext>
            </a:extLst>
          </p:cNvPr>
          <p:cNvGraphicFramePr>
            <a:graphicFrameLocks noChangeAspect="1"/>
          </p:cNvGraphicFramePr>
          <p:nvPr userDrawn="1">
            <p:custDataLst>
              <p:tags r:id="rId1"/>
            </p:custDataLst>
            <p:extLst>
              <p:ext uri="{D42A27DB-BD31-4B8C-83A1-F6EECF244321}">
                <p14:modId xmlns:p14="http://schemas.microsoft.com/office/powerpoint/2010/main" val="2390102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2" name="think-cell data - do not delete" hidden="1">
                        <a:extLst>
                          <a:ext uri="{FF2B5EF4-FFF2-40B4-BE49-F238E27FC236}">
                            <a16:creationId xmlns:a16="http://schemas.microsoft.com/office/drawing/2014/main" id="{562F87D5-8264-0653-06EF-689D226277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Box 15">
            <a:extLst>
              <a:ext uri="{FF2B5EF4-FFF2-40B4-BE49-F238E27FC236}">
                <a16:creationId xmlns:a16="http://schemas.microsoft.com/office/drawing/2014/main" id="{1A95BFD5-76DC-455D-90FB-7AC359B16483}"/>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1">
            <a:extLst>
              <a:ext uri="{FF2B5EF4-FFF2-40B4-BE49-F238E27FC236}">
                <a16:creationId xmlns:a16="http://schemas.microsoft.com/office/drawing/2014/main" id="{822A6BA6-EB79-41A2-AC44-C554AC9D895C}"/>
              </a:ext>
            </a:extLst>
          </p:cNvPr>
          <p:cNvSpPr>
            <a:spLocks noGrp="1"/>
          </p:cNvSpPr>
          <p:nvPr>
            <p:ph type="title" hasCustomPrompt="1"/>
          </p:nvPr>
        </p:nvSpPr>
        <p:spPr bwMode="blackWhite">
          <a:xfrm>
            <a:off x="628650" y="3045480"/>
            <a:ext cx="4297680" cy="1754326"/>
          </a:xfrm>
        </p:spPr>
        <p:txBody>
          <a:bodyPr vert="horz" lIns="91440" tIns="45720" rIns="91440" bIns="45720" anchor="t">
            <a:noAutofit/>
          </a:bodyPr>
          <a:lstStyle>
            <a:lvl1pPr>
              <a:lnSpc>
                <a:spcPct val="100000"/>
              </a:lnSpc>
              <a:defRPr sz="5400">
                <a:solidFill>
                  <a:srgbClr val="FFFD77"/>
                </a:solidFill>
                <a:latin typeface="+mj-lt"/>
                <a:ea typeface="+mj-ea"/>
                <a:cs typeface="+mj-cs"/>
                <a:sym typeface="Trebuchet MS" panose="020B0603020202020204" pitchFamily="34" charset="0"/>
              </a:defRPr>
            </a:lvl1pPr>
          </a:lstStyle>
          <a:p>
            <a:r>
              <a:rPr lang="en-US"/>
              <a:t>Seamless Connectivity</a:t>
            </a:r>
          </a:p>
        </p:txBody>
      </p:sp>
      <p:sp>
        <p:nvSpPr>
          <p:cNvPr id="18" name="Text Placeholder 35">
            <a:extLst>
              <a:ext uri="{FF2B5EF4-FFF2-40B4-BE49-F238E27FC236}">
                <a16:creationId xmlns:a16="http://schemas.microsoft.com/office/drawing/2014/main" id="{C2866DCB-EECA-400E-A063-78618B9E7090}"/>
              </a:ext>
            </a:extLst>
          </p:cNvPr>
          <p:cNvSpPr>
            <a:spLocks noGrp="1"/>
          </p:cNvSpPr>
          <p:nvPr>
            <p:ph type="body" sz="quarter" idx="10" hasCustomPrompt="1"/>
          </p:nvPr>
        </p:nvSpPr>
        <p:spPr>
          <a:xfrm>
            <a:off x="628650" y="2452626"/>
            <a:ext cx="4297680" cy="592855"/>
          </a:xfrm>
        </p:spPr>
        <p:txBody>
          <a:bodyPr lIns="91440" tIns="45720" rIns="91440" bIns="45720">
            <a:noAutofit/>
          </a:bodyPr>
          <a:lstStyle>
            <a:lvl1pPr>
              <a:defRPr sz="3200" b="1" cap="none" spc="600" baseline="0">
                <a:solidFill>
                  <a:srgbClr val="FFFFFF"/>
                </a:solidFill>
              </a:defRPr>
            </a:lvl1pPr>
            <a:lvl2pPr>
              <a:defRPr sz="3200" cap="none" baseline="0"/>
            </a:lvl2pPr>
            <a:lvl3pPr>
              <a:defRPr sz="3200" cap="none" baseline="0"/>
            </a:lvl3pPr>
            <a:lvl4pPr>
              <a:defRPr sz="3200" cap="none" baseline="0"/>
            </a:lvl4pPr>
            <a:lvl5pPr>
              <a:defRPr sz="3200" cap="none" baseline="0"/>
            </a:lvl5pPr>
          </a:lstStyle>
          <a:p>
            <a:pPr lvl="0"/>
            <a:r>
              <a:rPr lang="en-US"/>
              <a:t>DIVIDER SLIDE</a:t>
            </a:r>
          </a:p>
        </p:txBody>
      </p:sp>
      <p:pic>
        <p:nvPicPr>
          <p:cNvPr id="8" name="Picture 7">
            <a:extLst>
              <a:ext uri="{FF2B5EF4-FFF2-40B4-BE49-F238E27FC236}">
                <a16:creationId xmlns:a16="http://schemas.microsoft.com/office/drawing/2014/main" id="{4D3B0B95-988B-44AE-9A5F-307829F6D5BF}"/>
              </a:ext>
            </a:extLst>
          </p:cNvPr>
          <p:cNvPicPr>
            <a:picLocks noChangeAspect="1"/>
          </p:cNvPicPr>
          <p:nvPr userDrawn="1"/>
        </p:nvPicPr>
        <p:blipFill>
          <a:blip r:embed="rId5"/>
          <a:stretch>
            <a:fillRect/>
          </a:stretch>
        </p:blipFill>
        <p:spPr>
          <a:xfrm>
            <a:off x="45720" y="52248"/>
            <a:ext cx="651797" cy="290652"/>
          </a:xfrm>
          <a:prstGeom prst="rect">
            <a:avLst/>
          </a:prstGeom>
        </p:spPr>
      </p:pic>
    </p:spTree>
    <p:extLst>
      <p:ext uri="{BB962C8B-B14F-4D97-AF65-F5344CB8AC3E}">
        <p14:creationId xmlns:p14="http://schemas.microsoft.com/office/powerpoint/2010/main" val="22695183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298C5D-03DC-48E9-9249-8884E797452A}"/>
              </a:ext>
            </a:extLst>
          </p:cNvPr>
          <p:cNvGraphicFramePr>
            <a:graphicFrameLocks noChangeAspect="1"/>
          </p:cNvGraphicFramePr>
          <p:nvPr userDrawn="1">
            <p:custDataLst>
              <p:tags r:id="rId1"/>
            </p:custDataLst>
            <p:extLst>
              <p:ext uri="{D42A27DB-BD31-4B8C-83A1-F6EECF244321}">
                <p14:modId xmlns:p14="http://schemas.microsoft.com/office/powerpoint/2010/main" val="2598326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D1298C5D-03DC-48E9-9249-8884E79745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97A56"/>
              </a:gs>
              <a:gs pos="100000">
                <a:srgbClr val="0DA3E2"/>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3" name="Picture 12">
            <a:extLst>
              <a:ext uri="{FF2B5EF4-FFF2-40B4-BE49-F238E27FC236}">
                <a16:creationId xmlns:a16="http://schemas.microsoft.com/office/drawing/2014/main" id="{3CE25AF3-3FE8-439D-BF45-A3D356867F0E}"/>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268560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BB2D04-BEDA-4F00-B86E-C6F18693246A}"/>
              </a:ext>
            </a:extLst>
          </p:cNvPr>
          <p:cNvGraphicFramePr>
            <a:graphicFrameLocks noChangeAspect="1"/>
          </p:cNvGraphicFramePr>
          <p:nvPr userDrawn="1">
            <p:custDataLst>
              <p:tags r:id="rId1"/>
            </p:custDataLst>
            <p:extLst>
              <p:ext uri="{D42A27DB-BD31-4B8C-83A1-F6EECF244321}">
                <p14:modId xmlns:p14="http://schemas.microsoft.com/office/powerpoint/2010/main" val="1703834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think-cell data - do not delete" hidden="1">
                        <a:extLst>
                          <a:ext uri="{FF2B5EF4-FFF2-40B4-BE49-F238E27FC236}">
                            <a16:creationId xmlns:a16="http://schemas.microsoft.com/office/drawing/2014/main" id="{C7BB2D04-BEDA-4F00-B86E-C6F1869324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Picture 10">
            <a:extLst>
              <a:ext uri="{FF2B5EF4-FFF2-40B4-BE49-F238E27FC236}">
                <a16:creationId xmlns:a16="http://schemas.microsoft.com/office/drawing/2014/main" id="{4026E8CA-1179-4DD4-A8A4-9526E016825A}"/>
              </a:ext>
            </a:extLst>
          </p:cNvPr>
          <p:cNvPicPr>
            <a:picLocks noChangeAspect="1"/>
          </p:cNvPicPr>
          <p:nvPr userDrawn="1"/>
        </p:nvPicPr>
        <p:blipFill>
          <a:blip r:embed="rId5"/>
          <a:stretch>
            <a:fillRect/>
          </a:stretch>
        </p:blipFill>
        <p:spPr>
          <a:xfrm>
            <a:off x="45720" y="52248"/>
            <a:ext cx="651797" cy="290652"/>
          </a:xfrm>
          <a:prstGeom prst="rect">
            <a:avLst/>
          </a:prstGeom>
        </p:spPr>
      </p:pic>
    </p:spTree>
    <p:extLst>
      <p:ext uri="{BB962C8B-B14F-4D97-AF65-F5344CB8AC3E}">
        <p14:creationId xmlns:p14="http://schemas.microsoft.com/office/powerpoint/2010/main" val="2351083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67F570E-9268-48B9-B9A5-39A505F33149}"/>
              </a:ext>
            </a:extLst>
          </p:cNvPr>
          <p:cNvGraphicFramePr>
            <a:graphicFrameLocks noChangeAspect="1"/>
          </p:cNvGraphicFramePr>
          <p:nvPr userDrawn="1">
            <p:custDataLst>
              <p:tags r:id="rId1"/>
            </p:custDataLst>
            <p:extLst>
              <p:ext uri="{D42A27DB-BD31-4B8C-83A1-F6EECF244321}">
                <p14:modId xmlns:p14="http://schemas.microsoft.com/office/powerpoint/2010/main" val="1676147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67F570E-9268-48B9-B9A5-39A505F331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0DA3E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DA3E2"/>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901028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5455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813378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DA3E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pic>
        <p:nvPicPr>
          <p:cNvPr id="9" name="Picture 8">
            <a:extLst>
              <a:ext uri="{FF2B5EF4-FFF2-40B4-BE49-F238E27FC236}">
                <a16:creationId xmlns:a16="http://schemas.microsoft.com/office/drawing/2014/main" id="{47711B0D-8DA7-4AA9-B98F-067BC30B836B}"/>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122330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E95A5F9-F9A1-4943-A090-37191F73D48D}"/>
              </a:ext>
            </a:extLst>
          </p:cNvPr>
          <p:cNvGraphicFramePr>
            <a:graphicFrameLocks noChangeAspect="1"/>
          </p:cNvGraphicFramePr>
          <p:nvPr userDrawn="1">
            <p:custDataLst>
              <p:tags r:id="rId1"/>
            </p:custDataLst>
            <p:extLst>
              <p:ext uri="{D42A27DB-BD31-4B8C-83A1-F6EECF244321}">
                <p14:modId xmlns:p14="http://schemas.microsoft.com/office/powerpoint/2010/main" val="4226426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BE95A5F9-F9A1-4943-A090-37191F73D4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4" name="Title 3"/>
          <p:cNvSpPr>
            <a:spLocks noGrp="1"/>
          </p:cNvSpPr>
          <p:nvPr>
            <p:ph type="title" hasCustomPrompt="1"/>
          </p:nvPr>
        </p:nvSpPr>
        <p:spPr>
          <a:xfrm>
            <a:off x="630000" y="622800"/>
            <a:ext cx="10933200" cy="332399"/>
          </a:xfrm>
        </p:spPr>
        <p:txBody>
          <a:bodyPr vert="horz" anchor="b"/>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9" name="Picture 8">
            <a:extLst>
              <a:ext uri="{FF2B5EF4-FFF2-40B4-BE49-F238E27FC236}">
                <a16:creationId xmlns:a16="http://schemas.microsoft.com/office/drawing/2014/main" id="{C6270AFB-5B0A-442D-A585-BFB621550725}"/>
              </a:ext>
            </a:extLst>
          </p:cNvPr>
          <p:cNvPicPr>
            <a:picLocks noChangeAspect="1"/>
          </p:cNvPicPr>
          <p:nvPr userDrawn="1"/>
        </p:nvPicPr>
        <p:blipFill>
          <a:blip r:embed="rId5"/>
          <a:stretch>
            <a:fillRect/>
          </a:stretch>
        </p:blipFill>
        <p:spPr>
          <a:xfrm>
            <a:off x="45720" y="52248"/>
            <a:ext cx="651797" cy="290652"/>
          </a:xfrm>
          <a:prstGeom prst="rect">
            <a:avLst/>
          </a:prstGeom>
        </p:spPr>
      </p:pic>
    </p:spTree>
    <p:extLst>
      <p:ext uri="{BB962C8B-B14F-4D97-AF65-F5344CB8AC3E}">
        <p14:creationId xmlns:p14="http://schemas.microsoft.com/office/powerpoint/2010/main" val="1998769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ECECA6F-212D-4208-9754-6C1C332500FD}"/>
              </a:ext>
            </a:extLst>
          </p:cNvPr>
          <p:cNvGraphicFramePr>
            <a:graphicFrameLocks noChangeAspect="1"/>
          </p:cNvGraphicFramePr>
          <p:nvPr userDrawn="1">
            <p:custDataLst>
              <p:tags r:id="rId1"/>
            </p:custDataLst>
            <p:extLst>
              <p:ext uri="{D42A27DB-BD31-4B8C-83A1-F6EECF244321}">
                <p14:modId xmlns:p14="http://schemas.microsoft.com/office/powerpoint/2010/main" val="420984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9ECECA6F-212D-4208-9754-6C1C332500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897525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3C7458E-27C9-4D51-A5A4-7F404C6E7088}"/>
              </a:ext>
            </a:extLst>
          </p:cNvPr>
          <p:cNvGraphicFramePr>
            <a:graphicFrameLocks noChangeAspect="1"/>
          </p:cNvGraphicFramePr>
          <p:nvPr userDrawn="1">
            <p:custDataLst>
              <p:tags r:id="rId1"/>
            </p:custDataLst>
            <p:extLst>
              <p:ext uri="{D42A27DB-BD31-4B8C-83A1-F6EECF244321}">
                <p14:modId xmlns:p14="http://schemas.microsoft.com/office/powerpoint/2010/main" val="423116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43C7458E-27C9-4D51-A5A4-7F404C6E70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pic>
        <p:nvPicPr>
          <p:cNvPr id="10" name="Picture 9">
            <a:extLst>
              <a:ext uri="{FF2B5EF4-FFF2-40B4-BE49-F238E27FC236}">
                <a16:creationId xmlns:a16="http://schemas.microsoft.com/office/drawing/2014/main" id="{0A00D86F-05DD-4498-BFA1-DED45DC07700}"/>
              </a:ext>
            </a:extLst>
          </p:cNvPr>
          <p:cNvPicPr>
            <a:picLocks noChangeAspect="1"/>
          </p:cNvPicPr>
          <p:nvPr userDrawn="1"/>
        </p:nvPicPr>
        <p:blipFill>
          <a:blip r:embed="rId5"/>
          <a:stretch>
            <a:fillRect/>
          </a:stretch>
        </p:blipFill>
        <p:spPr>
          <a:xfrm>
            <a:off x="45720" y="52248"/>
            <a:ext cx="651797" cy="290652"/>
          </a:xfrm>
          <a:prstGeom prst="rect">
            <a:avLst/>
          </a:prstGeom>
        </p:spPr>
      </p:pic>
    </p:spTree>
    <p:extLst>
      <p:ext uri="{BB962C8B-B14F-4D97-AF65-F5344CB8AC3E}">
        <p14:creationId xmlns:p14="http://schemas.microsoft.com/office/powerpoint/2010/main" val="2016950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761B3E5-B11C-404A-AD1F-CE65F8DC0EB7}"/>
              </a:ext>
            </a:extLst>
          </p:cNvPr>
          <p:cNvGraphicFramePr>
            <a:graphicFrameLocks noChangeAspect="1"/>
          </p:cNvGraphicFramePr>
          <p:nvPr userDrawn="1">
            <p:custDataLst>
              <p:tags r:id="rId1"/>
            </p:custDataLst>
            <p:extLst>
              <p:ext uri="{D42A27DB-BD31-4B8C-83A1-F6EECF244321}">
                <p14:modId xmlns:p14="http://schemas.microsoft.com/office/powerpoint/2010/main" val="497226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A761B3E5-B11C-404A-AD1F-CE65F8DC0E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3" name="Rectangle 12">
            <a:extLst>
              <a:ext uri="{FF2B5EF4-FFF2-40B4-BE49-F238E27FC236}">
                <a16:creationId xmlns:a16="http://schemas.microsoft.com/office/drawing/2014/main" id="{A81ADC0E-6918-4CF9-BAB5-8DD0376ABB4F}"/>
              </a:ext>
            </a:extLst>
          </p:cNvPr>
          <p:cNvSpPr/>
          <p:nvPr userDrawn="1"/>
        </p:nvSpPr>
        <p:spPr>
          <a:xfrm>
            <a:off x="5021826" y="1630185"/>
            <a:ext cx="6209072" cy="3392129"/>
          </a:xfrm>
          <a:prstGeom prst="rect">
            <a:avLst/>
          </a:prstGeom>
        </p:spPr>
        <p:txBody>
          <a:bodyPr wrap="square" lIns="0" tIns="0" rIns="0" bIns="0" anchor="ctr">
            <a:spAutoFit/>
          </a:bodyPr>
          <a:lstStyle/>
          <a:p>
            <a:pPr indent="0">
              <a:lnSpc>
                <a:spcPct val="100000"/>
              </a:lnSpc>
            </a:pPr>
            <a:r>
              <a:rPr lang="en-US" sz="900" b="0">
                <a:solidFill>
                  <a:srgbClr val="333333"/>
                </a:solidFill>
                <a:latin typeface="+mn-lt"/>
                <a:sym typeface="Trebuchet MS" panose="020B0603020202020204" pitchFamily="34" charset="0"/>
              </a:rPr>
              <a:t>The services and materials provided by Boston Consulting Group (BCG) are subject to BCG's Standard Terms </a:t>
            </a:r>
            <a:br>
              <a:rPr lang="en-US" sz="900" b="0">
                <a:solidFill>
                  <a:srgbClr val="333333"/>
                </a:solidFill>
                <a:latin typeface="+mn-lt"/>
                <a:sym typeface="Trebuchet MS" panose="020B0603020202020204" pitchFamily="34" charset="0"/>
              </a:rPr>
            </a:br>
            <a:r>
              <a:rPr lang="en-US" sz="900" b="0">
                <a:solidFill>
                  <a:srgbClr val="333333"/>
                </a:solidFill>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solidFill>
                  <a:srgbClr val="333333"/>
                </a:solidFill>
                <a:latin typeface="+mn-lt"/>
                <a:sym typeface="Trebuchet MS" panose="020B0603020202020204" pitchFamily="34" charset="0"/>
              </a:rPr>
            </a:br>
            <a:r>
              <a:rPr lang="en-US" sz="900" b="0">
                <a:solidFill>
                  <a:srgbClr val="333333"/>
                </a:solidFill>
                <a:latin typeface="+mn-lt"/>
                <a:sym typeface="Trebuchet MS" panose="020B0603020202020204" pitchFamily="34" charset="0"/>
              </a:rPr>
              <a:t>to update these materials after the date hereof, notwithstanding that such information may become outdated </a:t>
            </a:r>
            <a:br>
              <a:rPr lang="en-US" sz="900" b="0">
                <a:solidFill>
                  <a:srgbClr val="333333"/>
                </a:solidFill>
                <a:latin typeface="+mn-lt"/>
                <a:sym typeface="Trebuchet MS" panose="020B0603020202020204" pitchFamily="34" charset="0"/>
              </a:rPr>
            </a:br>
            <a:r>
              <a:rPr lang="en-US" sz="900" b="0">
                <a:solidFill>
                  <a:srgbClr val="333333"/>
                </a:solidFill>
                <a:latin typeface="+mn-lt"/>
                <a:sym typeface="Trebuchet MS" panose="020B0603020202020204" pitchFamily="34" charset="0"/>
              </a:rPr>
              <a:t>or inaccurate.</a:t>
            </a:r>
          </a:p>
          <a:p>
            <a:pPr indent="0">
              <a:lnSpc>
                <a:spcPct val="100000"/>
              </a:lnSpc>
            </a:pPr>
            <a:r>
              <a:rPr lang="en-US" sz="900" b="0">
                <a:solidFill>
                  <a:srgbClr val="333333"/>
                </a:solidFill>
                <a:latin typeface="+mn-lt"/>
                <a:sym typeface="Trebuchet MS" panose="020B0603020202020204" pitchFamily="34" charset="0"/>
              </a:rPr>
              <a:t> </a:t>
            </a:r>
          </a:p>
          <a:p>
            <a:pPr indent="0">
              <a:lnSpc>
                <a:spcPct val="100000"/>
              </a:lnSpc>
            </a:pPr>
            <a:r>
              <a:rPr lang="en-US" sz="900" b="0">
                <a:solidFill>
                  <a:srgbClr val="333333"/>
                </a:solidFill>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solidFill>
                <a:srgbClr val="333333"/>
              </a:solidFill>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solidFill>
                  <a:srgbClr val="333333"/>
                </a:solidFill>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Tree>
    <p:extLst>
      <p:ext uri="{BB962C8B-B14F-4D97-AF65-F5344CB8AC3E}">
        <p14:creationId xmlns:p14="http://schemas.microsoft.com/office/powerpoint/2010/main" val="1630201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25608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EB9893C-ACAD-4B89-BCC8-A85E4D809062}"/>
              </a:ext>
            </a:extLst>
          </p:cNvPr>
          <p:cNvPicPr>
            <a:picLocks noChangeAspect="1"/>
          </p:cNvPicPr>
          <p:nvPr userDrawn="1"/>
        </p:nvPicPr>
        <p:blipFill>
          <a:blip r:embed="rId5">
            <a:extLst>
              <a:ext uri="{BEBA8EAE-BF5A-486C-A8C5-ECC9F3942E4B}">
                <a14:imgProps xmlns:a14="http://schemas.microsoft.com/office/drawing/2010/main">
                  <a14:imgLayer r:embed="rId6">
                    <a14:imgEffect>
                      <a14:saturation sat="0"/>
                    </a14:imgEffect>
                  </a14:imgLayer>
                </a14:imgProps>
              </a:ext>
            </a:extLst>
          </a:blip>
          <a:srcRect t="221" b="221"/>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a:extLst>
              <a:ext uri="{FF2B5EF4-FFF2-40B4-BE49-F238E27FC236}">
                <a16:creationId xmlns:a16="http://schemas.microsoft.com/office/drawing/2014/main" id="{41750355-A8A9-4950-88C6-F66A8644CFD6}"/>
              </a:ext>
            </a:extLst>
          </p:cNvPr>
          <p:cNvSpPr/>
          <p:nvPr userDrawn="1"/>
        </p:nvSpPr>
        <p:spPr>
          <a:xfrm>
            <a:off x="0" y="0"/>
            <a:ext cx="12192000" cy="6858000"/>
          </a:xfrm>
          <a:prstGeom prst="rect">
            <a:avLst/>
          </a:prstGeom>
          <a:gradFill flip="none" rotWithShape="1">
            <a:gsLst>
              <a:gs pos="0">
                <a:srgbClr val="00598E">
                  <a:alpha val="80000"/>
                </a:srgbClr>
              </a:gs>
              <a:gs pos="30000">
                <a:srgbClr val="0DA3E2">
                  <a:alpha val="63000"/>
                </a:srgbClr>
              </a:gs>
              <a:gs pos="62000">
                <a:srgbClr val="FFFFFF">
                  <a:alpha val="56000"/>
                </a:srgbClr>
              </a:gs>
            </a:gsLst>
            <a:lin ang="11400000" scaled="0"/>
            <a:tileRect/>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Trebuchet MS"/>
              <a:ea typeface="+mn-ea"/>
              <a:cs typeface="+mn-cs"/>
            </a:endParaRPr>
          </a:p>
        </p:txBody>
      </p:sp>
      <p:sp>
        <p:nvSpPr>
          <p:cNvPr id="13" name="TextBox 12">
            <a:extLst>
              <a:ext uri="{FF2B5EF4-FFF2-40B4-BE49-F238E27FC236}">
                <a16:creationId xmlns:a16="http://schemas.microsoft.com/office/drawing/2014/main" id="{572EFA65-94D8-4618-8DA7-64246223FDB5}"/>
              </a:ext>
            </a:extLst>
          </p:cNvPr>
          <p:cNvSpPr txBox="1"/>
          <p:nvPr userDrawn="1"/>
        </p:nvSpPr>
        <p:spPr>
          <a:xfrm>
            <a:off x="515240" y="2371472"/>
            <a:ext cx="5140493" cy="1089529"/>
          </a:xfrm>
          <a:prstGeom prst="rect">
            <a:avLst/>
          </a:prstGeom>
          <a:noFill/>
        </p:spPr>
        <p:txBody>
          <a:bodyPr wrap="square"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id-ID" sz="7200" b="1" i="0" u="none" strike="noStrike" kern="1200" cap="none" spc="0" normalizeH="0" baseline="0" noProof="0">
                <a:ln>
                  <a:noFill/>
                </a:ln>
                <a:solidFill>
                  <a:srgbClr val="05455F"/>
                </a:solidFill>
                <a:effectLst/>
                <a:uLnTx/>
                <a:uFillTx/>
              </a:rPr>
              <a:t>Thank You</a:t>
            </a:r>
          </a:p>
        </p:txBody>
      </p:sp>
      <p:cxnSp>
        <p:nvCxnSpPr>
          <p:cNvPr id="24" name="Straight Connector 23">
            <a:extLst>
              <a:ext uri="{FF2B5EF4-FFF2-40B4-BE49-F238E27FC236}">
                <a16:creationId xmlns:a16="http://schemas.microsoft.com/office/drawing/2014/main" id="{993514F7-1FD1-4F34-90FB-1745A9F6F9D8}"/>
              </a:ext>
            </a:extLst>
          </p:cNvPr>
          <p:cNvCxnSpPr/>
          <p:nvPr userDrawn="1"/>
        </p:nvCxnSpPr>
        <p:spPr>
          <a:xfrm>
            <a:off x="628650" y="3637742"/>
            <a:ext cx="6064248" cy="0"/>
          </a:xfrm>
          <a:prstGeom prst="line">
            <a:avLst/>
          </a:prstGeom>
          <a:noFill/>
          <a:ln w="28575" cap="rnd" cmpd="sng" algn="ctr">
            <a:solidFill>
              <a:srgbClr val="0DA3E2"/>
            </a:solidFill>
            <a:prstDash val="solid"/>
            <a:round/>
          </a:ln>
          <a:effectLst/>
        </p:spPr>
      </p:cxnSp>
      <p:pic>
        <p:nvPicPr>
          <p:cNvPr id="9" name="Picture 8">
            <a:extLst>
              <a:ext uri="{FF2B5EF4-FFF2-40B4-BE49-F238E27FC236}">
                <a16:creationId xmlns:a16="http://schemas.microsoft.com/office/drawing/2014/main" id="{E2DE9071-AA41-4090-816C-0C61840F1C2A}"/>
              </a:ext>
            </a:extLst>
          </p:cNvPr>
          <p:cNvPicPr>
            <a:picLocks noChangeAspect="1"/>
          </p:cNvPicPr>
          <p:nvPr userDrawn="1"/>
        </p:nvPicPr>
        <p:blipFill>
          <a:blip r:embed="rId7"/>
          <a:stretch>
            <a:fillRect/>
          </a:stretch>
        </p:blipFill>
        <p:spPr>
          <a:xfrm>
            <a:off x="628650" y="750017"/>
            <a:ext cx="1619250" cy="722064"/>
          </a:xfrm>
          <a:prstGeom prst="rect">
            <a:avLst/>
          </a:prstGeom>
        </p:spPr>
      </p:pic>
    </p:spTree>
    <p:extLst>
      <p:ext uri="{BB962C8B-B14F-4D97-AF65-F5344CB8AC3E}">
        <p14:creationId xmlns:p14="http://schemas.microsoft.com/office/powerpoint/2010/main" val="97361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73CB5A-DDCA-47F3-8561-9BF8AD8A35FD}"/>
              </a:ext>
            </a:extLst>
          </p:cNvPr>
          <p:cNvGraphicFramePr>
            <a:graphicFrameLocks noChangeAspect="1"/>
          </p:cNvGraphicFramePr>
          <p:nvPr userDrawn="1">
            <p:custDataLst>
              <p:tags r:id="rId1"/>
            </p:custDataLst>
            <p:extLst>
              <p:ext uri="{D42A27DB-BD31-4B8C-83A1-F6EECF244321}">
                <p14:modId xmlns:p14="http://schemas.microsoft.com/office/powerpoint/2010/main" val="379940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BB73CB5A-DDCA-47F3-8561-9BF8AD8A35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grpSp>
        <p:nvGrpSpPr>
          <p:cNvPr id="55" name="Group 54">
            <a:extLst>
              <a:ext uri="{FF2B5EF4-FFF2-40B4-BE49-F238E27FC236}">
                <a16:creationId xmlns:a16="http://schemas.microsoft.com/office/drawing/2014/main" id="{332A4D29-5EF6-43F3-B1D5-3AFEB4C7632C}"/>
              </a:ext>
            </a:extLst>
          </p:cNvPr>
          <p:cNvGrpSpPr/>
          <p:nvPr userDrawn="1"/>
        </p:nvGrpSpPr>
        <p:grpSpPr>
          <a:xfrm>
            <a:off x="-600" y="-1"/>
            <a:ext cx="12193800" cy="6858001"/>
            <a:chOff x="-600" y="-1"/>
            <a:chExt cx="12193800" cy="6858001"/>
          </a:xfrm>
        </p:grpSpPr>
        <p:sp>
          <p:nvSpPr>
            <p:cNvPr id="93" name="Freeform: Shape 92">
              <a:extLst>
                <a:ext uri="{FF2B5EF4-FFF2-40B4-BE49-F238E27FC236}">
                  <a16:creationId xmlns:a16="http://schemas.microsoft.com/office/drawing/2014/main" id="{E0252FBA-3460-4692-957C-779F2B56C6F2}"/>
                </a:ext>
              </a:extLst>
            </p:cNvPr>
            <p:cNvSpPr/>
            <p:nvPr/>
          </p:nvSpPr>
          <p:spPr>
            <a:xfrm>
              <a:off x="0" y="-1"/>
              <a:ext cx="12193200" cy="6858000"/>
            </a:xfrm>
            <a:custGeom>
              <a:avLst/>
              <a:gdLst>
                <a:gd name="connsiteX0" fmla="*/ 629400 w 12193200"/>
                <a:gd name="connsiteY0" fmla="*/ 6160598 h 6858000"/>
                <a:gd name="connsiteX1" fmla="*/ 629400 w 12193200"/>
                <a:gd name="connsiteY1" fmla="*/ 6559941 h 6858000"/>
                <a:gd name="connsiteX2" fmla="*/ 11561629 w 12193200"/>
                <a:gd name="connsiteY2" fmla="*/ 6559941 h 6858000"/>
                <a:gd name="connsiteX3" fmla="*/ 11561629 w 12193200"/>
                <a:gd name="connsiteY3" fmla="*/ 6160598 h 6858000"/>
                <a:gd name="connsiteX4" fmla="*/ 630001 w 12193200"/>
                <a:gd name="connsiteY4" fmla="*/ 622800 h 6858000"/>
                <a:gd name="connsiteX5" fmla="*/ 630001 w 12193200"/>
                <a:gd name="connsiteY5" fmla="*/ 6160597 h 6858000"/>
                <a:gd name="connsiteX6" fmla="*/ 11562000 w 12193200"/>
                <a:gd name="connsiteY6" fmla="*/ 6160597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29400" y="6160598"/>
                  </a:moveTo>
                  <a:lnTo>
                    <a:pt x="629400" y="6559941"/>
                  </a:lnTo>
                  <a:lnTo>
                    <a:pt x="11561629" y="6559941"/>
                  </a:lnTo>
                  <a:lnTo>
                    <a:pt x="11561629" y="6160598"/>
                  </a:lnTo>
                  <a:close/>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E71C57">
                <a:alpha val="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94" name="Baselines / anchors">
              <a:extLst>
                <a:ext uri="{FF2B5EF4-FFF2-40B4-BE49-F238E27FC236}">
                  <a16:creationId xmlns:a16="http://schemas.microsoft.com/office/drawing/2014/main" id="{3F06E9AB-5EF9-40B2-8BB7-096AEC134D75}"/>
                </a:ext>
              </a:extLst>
            </p:cNvPr>
            <p:cNvGrpSpPr/>
            <p:nvPr/>
          </p:nvGrpSpPr>
          <p:grpSpPr>
            <a:xfrm>
              <a:off x="-600" y="622800"/>
              <a:ext cx="12193200" cy="5536800"/>
              <a:chOff x="12623800" y="622800"/>
              <a:chExt cx="11176000" cy="5536800"/>
            </a:xfrm>
          </p:grpSpPr>
          <p:cxnSp>
            <p:nvCxnSpPr>
              <p:cNvPr id="118" name="Straight Connector 117">
                <a:extLst>
                  <a:ext uri="{FF2B5EF4-FFF2-40B4-BE49-F238E27FC236}">
                    <a16:creationId xmlns:a16="http://schemas.microsoft.com/office/drawing/2014/main" id="{84C41882-9F2B-43D8-9FF1-0047374B221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585E49A-1496-459B-A9D5-F53F1B9982C2}"/>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6B291D82-84AC-4290-89A8-BE9534CF510D}"/>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4DA91714-D06F-4AA0-B35A-228E51E7B8FB}"/>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0CD08725-E78A-4E3C-92BF-BFB089BE885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B5147D0-6412-4A7A-B86F-520EB7C5DE79}"/>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B28CAE4-61BA-4695-B421-61E71ED6F31B}"/>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35F91623-FF0B-40EB-AA9F-8E39BDEF667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407E4581-AD5C-4C2E-BB2C-99B52A386E5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44507E89-2FAA-47DB-8E7F-5D397EF7B35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C6AB2305-19E8-4CA0-BE5D-4BE0ECA9C1E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971B5804-E140-4089-A9FE-7D85E986B4DE}"/>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1934097-34FE-47F4-96CF-394E492BC07A}"/>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62E9B858-36FE-4C70-9CA8-04E21DAF4E26}"/>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DD9C4054-8140-4093-BC6C-56FBB90F25AA}"/>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4DC4546-971A-4C6C-8D32-C4DD7AE4A2E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A395AB55-2AAD-45EC-81FC-CCE20979F74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62E7AB2F-EC32-48E3-B3F7-A12FA594AD04}"/>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494E7A07-BCB7-4829-B593-DEC339E8DA3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F6F5EF3F-E128-4EF2-B0A2-2CF0B708C68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5" name="Gutter space">
              <a:extLst>
                <a:ext uri="{FF2B5EF4-FFF2-40B4-BE49-F238E27FC236}">
                  <a16:creationId xmlns:a16="http://schemas.microsoft.com/office/drawing/2014/main" id="{CAFB2245-56F0-49AE-9D08-DCD9CEADD6BD}"/>
                </a:ext>
              </a:extLst>
            </p:cNvPr>
            <p:cNvGrpSpPr/>
            <p:nvPr/>
          </p:nvGrpSpPr>
          <p:grpSpPr>
            <a:xfrm>
              <a:off x="1277000" y="623550"/>
              <a:ext cx="9638000" cy="5537047"/>
              <a:chOff x="1277000" y="623550"/>
              <a:chExt cx="9638000" cy="5537047"/>
            </a:xfrm>
          </p:grpSpPr>
          <p:sp>
            <p:nvSpPr>
              <p:cNvPr id="107" name="Rectangle 34">
                <a:extLst>
                  <a:ext uri="{FF2B5EF4-FFF2-40B4-BE49-F238E27FC236}">
                    <a16:creationId xmlns:a16="http://schemas.microsoft.com/office/drawing/2014/main" id="{891F7B6C-EB2E-4909-9EA6-CDA6E6FEF88A}"/>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35">
                <a:extLst>
                  <a:ext uri="{FF2B5EF4-FFF2-40B4-BE49-F238E27FC236}">
                    <a16:creationId xmlns:a16="http://schemas.microsoft.com/office/drawing/2014/main" id="{7E50FFA3-854F-42E7-9870-2094CE24756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36">
                <a:extLst>
                  <a:ext uri="{FF2B5EF4-FFF2-40B4-BE49-F238E27FC236}">
                    <a16:creationId xmlns:a16="http://schemas.microsoft.com/office/drawing/2014/main" id="{D6C36052-7062-4D15-83F7-42AFA67410CD}"/>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37">
                <a:extLst>
                  <a:ext uri="{FF2B5EF4-FFF2-40B4-BE49-F238E27FC236}">
                    <a16:creationId xmlns:a16="http://schemas.microsoft.com/office/drawing/2014/main" id="{D981F8EF-6EAF-4448-83A0-FE6CBB89329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38">
                <a:extLst>
                  <a:ext uri="{FF2B5EF4-FFF2-40B4-BE49-F238E27FC236}">
                    <a16:creationId xmlns:a16="http://schemas.microsoft.com/office/drawing/2014/main" id="{4DAA05E0-BDD8-4BFF-8437-CEF908611D63}"/>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39">
                <a:extLst>
                  <a:ext uri="{FF2B5EF4-FFF2-40B4-BE49-F238E27FC236}">
                    <a16:creationId xmlns:a16="http://schemas.microsoft.com/office/drawing/2014/main" id="{1F0932C7-64C9-4709-8A1A-3393EECED22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40">
                <a:extLst>
                  <a:ext uri="{FF2B5EF4-FFF2-40B4-BE49-F238E27FC236}">
                    <a16:creationId xmlns:a16="http://schemas.microsoft.com/office/drawing/2014/main" id="{0BA698E3-4C8E-4BA1-B607-3CAE47EDBE5C}"/>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41">
                <a:extLst>
                  <a:ext uri="{FF2B5EF4-FFF2-40B4-BE49-F238E27FC236}">
                    <a16:creationId xmlns:a16="http://schemas.microsoft.com/office/drawing/2014/main" id="{9751BAF7-DEC6-47D3-BB02-A636D9EF7FF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42">
                <a:extLst>
                  <a:ext uri="{FF2B5EF4-FFF2-40B4-BE49-F238E27FC236}">
                    <a16:creationId xmlns:a16="http://schemas.microsoft.com/office/drawing/2014/main" id="{82C3A381-A05F-4F07-B8C6-A9440CEFEBF1}"/>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43">
                <a:extLst>
                  <a:ext uri="{FF2B5EF4-FFF2-40B4-BE49-F238E27FC236}">
                    <a16:creationId xmlns:a16="http://schemas.microsoft.com/office/drawing/2014/main" id="{2CF5B36A-F3D3-4FB3-BDB0-E3C4FDD2C574}"/>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44">
                <a:extLst>
                  <a:ext uri="{FF2B5EF4-FFF2-40B4-BE49-F238E27FC236}">
                    <a16:creationId xmlns:a16="http://schemas.microsoft.com/office/drawing/2014/main" id="{95F4FD31-D030-422C-9AA7-33D1D24B23D5}"/>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6" name="Slide edges">
              <a:extLst>
                <a:ext uri="{FF2B5EF4-FFF2-40B4-BE49-F238E27FC236}">
                  <a16:creationId xmlns:a16="http://schemas.microsoft.com/office/drawing/2014/main" id="{01BBC41C-B0BE-4E4D-8750-318C4C0D548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7" name="Footnote measure">
              <a:extLst>
                <a:ext uri="{FF2B5EF4-FFF2-40B4-BE49-F238E27FC236}">
                  <a16:creationId xmlns:a16="http://schemas.microsoft.com/office/drawing/2014/main" id="{49DB60B4-96BD-4473-A63F-6E72648FF2F3}"/>
                </a:ext>
              </a:extLst>
            </p:cNvPr>
            <p:cNvSpPr>
              <a:spLocks noChangeArrowheads="1"/>
            </p:cNvSpPr>
            <p:nvPr/>
          </p:nvSpPr>
          <p:spPr bwMode="auto">
            <a:xfrm>
              <a:off x="629400" y="6159600"/>
              <a:ext cx="10933200" cy="40034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Whitespace measure">
              <a:extLst>
                <a:ext uri="{FF2B5EF4-FFF2-40B4-BE49-F238E27FC236}">
                  <a16:creationId xmlns:a16="http://schemas.microsoft.com/office/drawing/2014/main" id="{3333CA31-4E1A-4FDC-A2B1-793056F0AFBB}"/>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9" name="Five column measure">
              <a:extLst>
                <a:ext uri="{FF2B5EF4-FFF2-40B4-BE49-F238E27FC236}">
                  <a16:creationId xmlns:a16="http://schemas.microsoft.com/office/drawing/2014/main" id="{2B8D7733-0774-4067-8FB0-A8F4DD832234}"/>
                </a:ext>
              </a:extLst>
            </p:cNvPr>
            <p:cNvGrpSpPr/>
            <p:nvPr/>
          </p:nvGrpSpPr>
          <p:grpSpPr>
            <a:xfrm>
              <a:off x="629400" y="5975122"/>
              <a:ext cx="10933200" cy="79536"/>
              <a:chOff x="629400" y="5975122"/>
              <a:chExt cx="10933200" cy="79536"/>
            </a:xfrm>
          </p:grpSpPr>
          <p:sp>
            <p:nvSpPr>
              <p:cNvPr id="102" name="Rectangle 5">
                <a:extLst>
                  <a:ext uri="{FF2B5EF4-FFF2-40B4-BE49-F238E27FC236}">
                    <a16:creationId xmlns:a16="http://schemas.microsoft.com/office/drawing/2014/main" id="{341E63A5-22F7-4E02-8044-8CCAA23C897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7">
                <a:extLst>
                  <a:ext uri="{FF2B5EF4-FFF2-40B4-BE49-F238E27FC236}">
                    <a16:creationId xmlns:a16="http://schemas.microsoft.com/office/drawing/2014/main" id="{B9346B62-08DA-489C-A0D9-C3DC8F65153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9">
                <a:extLst>
                  <a:ext uri="{FF2B5EF4-FFF2-40B4-BE49-F238E27FC236}">
                    <a16:creationId xmlns:a16="http://schemas.microsoft.com/office/drawing/2014/main" id="{8D73791C-BF66-465B-97A8-0A4954FDBACE}"/>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11">
                <a:extLst>
                  <a:ext uri="{FF2B5EF4-FFF2-40B4-BE49-F238E27FC236}">
                    <a16:creationId xmlns:a16="http://schemas.microsoft.com/office/drawing/2014/main" id="{578E1593-8F7D-48F9-B39C-4931FBD76DF9}"/>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13">
                <a:extLst>
                  <a:ext uri="{FF2B5EF4-FFF2-40B4-BE49-F238E27FC236}">
                    <a16:creationId xmlns:a16="http://schemas.microsoft.com/office/drawing/2014/main" id="{2E77831C-38DC-4294-BA96-99C7F1D5246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0" name="Live area">
              <a:extLst>
                <a:ext uri="{FF2B5EF4-FFF2-40B4-BE49-F238E27FC236}">
                  <a16:creationId xmlns:a16="http://schemas.microsoft.com/office/drawing/2014/main" id="{06770452-8751-496F-BF46-7215C03CF1A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01" name="Footnote example">
              <a:extLst>
                <a:ext uri="{FF2B5EF4-FFF2-40B4-BE49-F238E27FC236}">
                  <a16:creationId xmlns:a16="http://schemas.microsoft.com/office/drawing/2014/main" id="{4812E8B8-FCB1-4FF3-8D88-54E480369647}"/>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487013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383BB3E-C082-4A69-AA81-9C248436DC68}"/>
              </a:ext>
            </a:extLst>
          </p:cNvPr>
          <p:cNvGraphicFramePr>
            <a:graphicFrameLocks noChangeAspect="1"/>
          </p:cNvGraphicFramePr>
          <p:nvPr userDrawn="1">
            <p:custDataLst>
              <p:tags r:id="rId1"/>
            </p:custDataLst>
            <p:extLst>
              <p:ext uri="{D42A27DB-BD31-4B8C-83A1-F6EECF244321}">
                <p14:modId xmlns:p14="http://schemas.microsoft.com/office/powerpoint/2010/main" val="3188216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8383BB3E-C082-4A69-AA81-9C248436DC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1" i="0" u="none" kern="1200" spc="0">
                <a:solidFill>
                  <a:srgbClr val="0DA3E2"/>
                </a:solidFill>
                <a:latin typeface="+mj-lt"/>
                <a:ea typeface="+mj-ea"/>
                <a:cs typeface="+mj-cs"/>
                <a:sym typeface="Trebuchet MS" panose="020B0603020202020204" pitchFamily="34" charset="0"/>
              </a:defRPr>
            </a:lvl1pPr>
          </a:lstStyle>
          <a:p>
            <a:pPr lvl="0"/>
            <a:r>
              <a:rPr lang="en-US"/>
              <a:t>Click to add title</a:t>
            </a:r>
          </a:p>
        </p:txBody>
      </p:sp>
      <p:cxnSp>
        <p:nvCxnSpPr>
          <p:cNvPr id="8" name="Straight Connector 7">
            <a:extLst>
              <a:ext uri="{FF2B5EF4-FFF2-40B4-BE49-F238E27FC236}">
                <a16:creationId xmlns:a16="http://schemas.microsoft.com/office/drawing/2014/main" id="{48E2B4A0-6E6E-4B26-B5C1-A97DC9BF0230}"/>
              </a:ext>
            </a:extLst>
          </p:cNvPr>
          <p:cNvCxnSpPr/>
          <p:nvPr userDrawn="1"/>
        </p:nvCxnSpPr>
        <p:spPr>
          <a:xfrm>
            <a:off x="628650" y="1061884"/>
            <a:ext cx="11563350" cy="0"/>
          </a:xfrm>
          <a:prstGeom prst="line">
            <a:avLst/>
          </a:prstGeom>
          <a:noFill/>
          <a:ln w="9525" cap="rnd" cmpd="sng" algn="ctr">
            <a:solidFill>
              <a:srgbClr val="0DA3E2"/>
            </a:solidFill>
            <a:prstDash val="solid"/>
            <a:round/>
          </a:ln>
          <a:effectLst/>
        </p:spPr>
      </p:cxnSp>
    </p:spTree>
    <p:extLst>
      <p:ext uri="{BB962C8B-B14F-4D97-AF65-F5344CB8AC3E}">
        <p14:creationId xmlns:p14="http://schemas.microsoft.com/office/powerpoint/2010/main" val="429033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85828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Picture 15">
            <a:extLst>
              <a:ext uri="{FF2B5EF4-FFF2-40B4-BE49-F238E27FC236}">
                <a16:creationId xmlns:a16="http://schemas.microsoft.com/office/drawing/2014/main" id="{712E583E-4422-44A8-92AA-A0B583ABDF12}"/>
              </a:ext>
            </a:extLst>
          </p:cNvPr>
          <p:cNvPicPr>
            <a:picLocks noChangeAspect="1"/>
          </p:cNvPicPr>
          <p:nvPr userDrawn="1"/>
        </p:nvPicPr>
        <p:blipFill>
          <a:blip r:embed="rId6"/>
          <a:srcRect t="221" b="221"/>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7" name="Rectangle 16">
            <a:extLst>
              <a:ext uri="{FF2B5EF4-FFF2-40B4-BE49-F238E27FC236}">
                <a16:creationId xmlns:a16="http://schemas.microsoft.com/office/drawing/2014/main" id="{B61EAACB-2D90-4715-85AA-02DB344FC133}"/>
              </a:ext>
            </a:extLst>
          </p:cNvPr>
          <p:cNvSpPr/>
          <p:nvPr userDrawn="1"/>
        </p:nvSpPr>
        <p:spPr>
          <a:xfrm>
            <a:off x="0" y="0"/>
            <a:ext cx="12192000" cy="6858000"/>
          </a:xfrm>
          <a:prstGeom prst="rect">
            <a:avLst/>
          </a:prstGeom>
          <a:gradFill flip="none" rotWithShape="1">
            <a:gsLst>
              <a:gs pos="0">
                <a:srgbClr val="00598E">
                  <a:alpha val="80000"/>
                </a:srgbClr>
              </a:gs>
              <a:gs pos="30000">
                <a:srgbClr val="0DA3E2">
                  <a:alpha val="63000"/>
                </a:srgbClr>
              </a:gs>
              <a:gs pos="62000">
                <a:srgbClr val="FFFFFF">
                  <a:alpha val="56000"/>
                </a:srgbClr>
              </a:gs>
            </a:gsLst>
            <a:lin ang="11400000" scaled="0"/>
            <a:tileRect/>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Trebuchet MS"/>
              <a:ea typeface="+mn-ea"/>
              <a:cs typeface="+mn-cs"/>
            </a:endParaRPr>
          </a:p>
        </p:txBody>
      </p:sp>
      <p:sp>
        <p:nvSpPr>
          <p:cNvPr id="23" name="Text Placeholder 6">
            <a:extLst>
              <a:ext uri="{FF2B5EF4-FFF2-40B4-BE49-F238E27FC236}">
                <a16:creationId xmlns:a16="http://schemas.microsoft.com/office/drawing/2014/main" id="{CB135F34-9DE1-47E0-B4B2-5C5FAD848B3F}"/>
              </a:ext>
            </a:extLst>
          </p:cNvPr>
          <p:cNvSpPr>
            <a:spLocks noGrp="1"/>
          </p:cNvSpPr>
          <p:nvPr>
            <p:ph type="body" sz="quarter" idx="12" hasCustomPrompt="1"/>
          </p:nvPr>
        </p:nvSpPr>
        <p:spPr bwMode="black">
          <a:xfrm>
            <a:off x="628650" y="5541073"/>
            <a:ext cx="5550085" cy="327148"/>
          </a:xfrm>
          <a:prstGeom prst="rect">
            <a:avLst/>
          </a:prstGeom>
          <a:noFill/>
        </p:spPr>
        <p:txBody>
          <a:bodyPr anchor="ctr"/>
          <a:lstStyle>
            <a:lvl1pPr algn="l">
              <a:lnSpc>
                <a:spcPct val="110000"/>
              </a:lnSpc>
              <a:buNone/>
              <a:defRPr sz="1200" b="1" cap="all" spc="300" baseline="0">
                <a:solidFill>
                  <a:srgbClr val="333333"/>
                </a:solidFill>
                <a:latin typeface="+mn-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4" name="Subtitle 2">
            <a:extLst>
              <a:ext uri="{FF2B5EF4-FFF2-40B4-BE49-F238E27FC236}">
                <a16:creationId xmlns:a16="http://schemas.microsoft.com/office/drawing/2014/main" id="{CFF2D7F1-7E5B-45AB-8AAF-D11F394004A3}"/>
              </a:ext>
            </a:extLst>
          </p:cNvPr>
          <p:cNvSpPr>
            <a:spLocks noGrp="1"/>
          </p:cNvSpPr>
          <p:nvPr>
            <p:ph type="subTitle" idx="1" hasCustomPrompt="1"/>
          </p:nvPr>
        </p:nvSpPr>
        <p:spPr bwMode="white">
          <a:xfrm>
            <a:off x="628650" y="3946287"/>
            <a:ext cx="5550085" cy="436195"/>
          </a:xfrm>
          <a:prstGeom prst="rect">
            <a:avLst/>
          </a:prstGeom>
        </p:spPr>
        <p:txBody>
          <a:bodyPr anchor="ctr"/>
          <a:lstStyle>
            <a:lvl1pPr marL="0" indent="0" algn="l">
              <a:lnSpc>
                <a:spcPct val="110000"/>
              </a:lnSpc>
              <a:buNone/>
              <a:defRPr sz="1600" baseline="0">
                <a:solidFill>
                  <a:srgbClr val="333333"/>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5" name="Title 1">
            <a:extLst>
              <a:ext uri="{FF2B5EF4-FFF2-40B4-BE49-F238E27FC236}">
                <a16:creationId xmlns:a16="http://schemas.microsoft.com/office/drawing/2014/main" id="{B10B1B8B-1B76-4F9F-B4F8-3B1CC385D7CA}"/>
              </a:ext>
            </a:extLst>
          </p:cNvPr>
          <p:cNvSpPr>
            <a:spLocks noGrp="1"/>
          </p:cNvSpPr>
          <p:nvPr>
            <p:ph type="ctrTitle" hasCustomPrompt="1"/>
          </p:nvPr>
        </p:nvSpPr>
        <p:spPr bwMode="ltGray">
          <a:xfrm>
            <a:off x="628650" y="2279650"/>
            <a:ext cx="6064248" cy="1049546"/>
          </a:xfrm>
          <a:prstGeom prst="rect">
            <a:avLst/>
          </a:prstGeom>
        </p:spPr>
        <p:txBody>
          <a:bodyPr vert="horz" anchor="b">
            <a:normAutofit/>
          </a:bodyPr>
          <a:lstStyle>
            <a:lvl1pPr algn="l">
              <a:lnSpc>
                <a:spcPct val="93000"/>
              </a:lnSpc>
              <a:defRPr sz="4800" baseline="0">
                <a:solidFill>
                  <a:srgbClr val="00598E"/>
                </a:solidFill>
                <a:latin typeface="+mj-lt"/>
                <a:ea typeface="+mj-ea"/>
                <a:cs typeface="+mj-cs"/>
                <a:sym typeface="Trebuchet MS" panose="020B0603020202020204" pitchFamily="34" charset="0"/>
              </a:defRPr>
            </a:lvl1pPr>
          </a:lstStyle>
          <a:p>
            <a:r>
              <a:rPr lang="en-US"/>
              <a:t>Title in Title Case</a:t>
            </a:r>
          </a:p>
        </p:txBody>
      </p:sp>
      <p:cxnSp>
        <p:nvCxnSpPr>
          <p:cNvPr id="37" name="Straight Connector 36">
            <a:extLst>
              <a:ext uri="{FF2B5EF4-FFF2-40B4-BE49-F238E27FC236}">
                <a16:creationId xmlns:a16="http://schemas.microsoft.com/office/drawing/2014/main" id="{0EBA3324-2F7F-43FF-B577-995672088516}"/>
              </a:ext>
            </a:extLst>
          </p:cNvPr>
          <p:cNvCxnSpPr/>
          <p:nvPr userDrawn="1"/>
        </p:nvCxnSpPr>
        <p:spPr>
          <a:xfrm>
            <a:off x="628650" y="3637742"/>
            <a:ext cx="6064248" cy="0"/>
          </a:xfrm>
          <a:prstGeom prst="line">
            <a:avLst/>
          </a:prstGeom>
          <a:noFill/>
          <a:ln w="28575" cap="rnd" cmpd="sng" algn="ctr">
            <a:solidFill>
              <a:srgbClr val="0DA3E2"/>
            </a:solidFill>
            <a:prstDash val="solid"/>
            <a:round/>
          </a:ln>
          <a:effectLst/>
        </p:spPr>
      </p:cxnSp>
      <p:pic>
        <p:nvPicPr>
          <p:cNvPr id="12" name="Picture 11">
            <a:extLst>
              <a:ext uri="{FF2B5EF4-FFF2-40B4-BE49-F238E27FC236}">
                <a16:creationId xmlns:a16="http://schemas.microsoft.com/office/drawing/2014/main" id="{3935BFC0-BDDC-4FD2-819A-AB2972C14C1F}"/>
              </a:ext>
            </a:extLst>
          </p:cNvPr>
          <p:cNvPicPr>
            <a:picLocks noChangeAspect="1"/>
          </p:cNvPicPr>
          <p:nvPr userDrawn="1"/>
        </p:nvPicPr>
        <p:blipFill>
          <a:blip r:embed="rId7"/>
          <a:stretch>
            <a:fillRect/>
          </a:stretch>
        </p:blipFill>
        <p:spPr>
          <a:xfrm>
            <a:off x="628650" y="750017"/>
            <a:ext cx="1619250" cy="722064"/>
          </a:xfrm>
          <a:prstGeom prst="rect">
            <a:avLst/>
          </a:prstGeom>
        </p:spPr>
      </p:pic>
    </p:spTree>
    <p:extLst>
      <p:ext uri="{BB962C8B-B14F-4D97-AF65-F5344CB8AC3E}">
        <p14:creationId xmlns:p14="http://schemas.microsoft.com/office/powerpoint/2010/main" val="3579553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6E085E-127E-4BFD-AAE8-594A7076F499}"/>
              </a:ext>
            </a:extLst>
          </p:cNvPr>
          <p:cNvGraphicFramePr>
            <a:graphicFrameLocks noChangeAspect="1"/>
          </p:cNvGraphicFramePr>
          <p:nvPr userDrawn="1">
            <p:custDataLst>
              <p:tags r:id="rId1"/>
            </p:custDataLst>
            <p:extLst>
              <p:ext uri="{D42A27DB-BD31-4B8C-83A1-F6EECF244321}">
                <p14:modId xmlns:p14="http://schemas.microsoft.com/office/powerpoint/2010/main" val="73563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C36E085E-127E-4BFD-AAE8-594A7076F4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0DA3E2"/>
                </a:solidFill>
                <a:latin typeface="+mj-lt"/>
                <a:ea typeface="+mj-ea"/>
                <a:cs typeface="+mj-cs"/>
                <a:sym typeface="Trebuchet MS" panose="020B0603020202020204" pitchFamily="34" charset="0"/>
              </a:defRPr>
            </a:lvl1pPr>
          </a:lstStyle>
          <a:p>
            <a:r>
              <a:rPr lang="en-US"/>
              <a:t>Click to add title</a:t>
            </a:r>
          </a:p>
        </p:txBody>
      </p:sp>
      <p:cxnSp>
        <p:nvCxnSpPr>
          <p:cNvPr id="9" name="Straight Connector 8">
            <a:extLst>
              <a:ext uri="{FF2B5EF4-FFF2-40B4-BE49-F238E27FC236}">
                <a16:creationId xmlns:a16="http://schemas.microsoft.com/office/drawing/2014/main" id="{1511130F-7E6C-4BB3-A280-93AE71270CA5}"/>
              </a:ext>
            </a:extLst>
          </p:cNvPr>
          <p:cNvCxnSpPr/>
          <p:nvPr userDrawn="1"/>
        </p:nvCxnSpPr>
        <p:spPr>
          <a:xfrm>
            <a:off x="628650" y="1061884"/>
            <a:ext cx="11563350" cy="0"/>
          </a:xfrm>
          <a:prstGeom prst="line">
            <a:avLst/>
          </a:prstGeom>
          <a:noFill/>
          <a:ln w="9525" cap="rnd" cmpd="sng" algn="ctr">
            <a:solidFill>
              <a:srgbClr val="0DA3E2"/>
            </a:solidFill>
            <a:prstDash val="solid"/>
            <a:round/>
          </a:ln>
          <a:effectLst/>
        </p:spPr>
      </p:cxnSp>
    </p:spTree>
    <p:extLst>
      <p:ext uri="{BB962C8B-B14F-4D97-AF65-F5344CB8AC3E}">
        <p14:creationId xmlns:p14="http://schemas.microsoft.com/office/powerpoint/2010/main" val="67603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0760054-62BB-4FA8-982C-F11F430C9D9B}"/>
              </a:ext>
            </a:extLst>
          </p:cNvPr>
          <p:cNvGraphicFramePr>
            <a:graphicFrameLocks noChangeAspect="1"/>
          </p:cNvGraphicFramePr>
          <p:nvPr userDrawn="1">
            <p:custDataLst>
              <p:tags r:id="rId1"/>
            </p:custDataLst>
            <p:extLst>
              <p:ext uri="{D42A27DB-BD31-4B8C-83A1-F6EECF244321}">
                <p14:modId xmlns:p14="http://schemas.microsoft.com/office/powerpoint/2010/main" val="531422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think-cell data - do not delete" hidden="1">
                        <a:extLst>
                          <a:ext uri="{FF2B5EF4-FFF2-40B4-BE49-F238E27FC236}">
                            <a16:creationId xmlns:a16="http://schemas.microsoft.com/office/drawing/2014/main" id="{70760054-62BB-4FA8-982C-F11F430C9D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0DA3E2"/>
                </a:solidFill>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cxnSp>
        <p:nvCxnSpPr>
          <p:cNvPr id="7" name="Straight Connector 6">
            <a:extLst>
              <a:ext uri="{FF2B5EF4-FFF2-40B4-BE49-F238E27FC236}">
                <a16:creationId xmlns:a16="http://schemas.microsoft.com/office/drawing/2014/main" id="{C3E9F859-F08D-45AB-9EDF-CFFC1D6505F3}"/>
              </a:ext>
            </a:extLst>
          </p:cNvPr>
          <p:cNvCxnSpPr/>
          <p:nvPr userDrawn="1"/>
        </p:nvCxnSpPr>
        <p:spPr>
          <a:xfrm>
            <a:off x="628650" y="1061884"/>
            <a:ext cx="11563350" cy="0"/>
          </a:xfrm>
          <a:prstGeom prst="line">
            <a:avLst/>
          </a:prstGeom>
          <a:noFill/>
          <a:ln w="9525" cap="rnd" cmpd="sng" algn="ctr">
            <a:solidFill>
              <a:srgbClr val="0DA3E2"/>
            </a:solidFill>
            <a:prstDash val="solid"/>
            <a:round/>
          </a:ln>
          <a:effectLst/>
        </p:spPr>
      </p:cxnSp>
    </p:spTree>
    <p:extLst>
      <p:ext uri="{BB962C8B-B14F-4D97-AF65-F5344CB8AC3E}">
        <p14:creationId xmlns:p14="http://schemas.microsoft.com/office/powerpoint/2010/main" val="170291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C682946-82CB-4E64-8B7C-8CC508FD9FAA}"/>
              </a:ext>
            </a:extLst>
          </p:cNvPr>
          <p:cNvGraphicFramePr>
            <a:graphicFrameLocks noChangeAspect="1"/>
          </p:cNvGraphicFramePr>
          <p:nvPr userDrawn="1">
            <p:custDataLst>
              <p:tags r:id="rId1"/>
            </p:custDataLst>
            <p:extLst>
              <p:ext uri="{D42A27DB-BD31-4B8C-83A1-F6EECF244321}">
                <p14:modId xmlns:p14="http://schemas.microsoft.com/office/powerpoint/2010/main" val="252061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DC682946-82CB-4E64-8B7C-8CC508FD9F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333333"/>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0DA3E2"/>
                </a:solidFill>
                <a:latin typeface="+mj-lt"/>
                <a:ea typeface="+mj-ea"/>
                <a:cs typeface="+mj-cs"/>
                <a:sym typeface="Trebuchet MS" panose="020B0603020202020204" pitchFamily="34" charset="0"/>
              </a:defRPr>
            </a:lvl1pPr>
          </a:lstStyle>
          <a:p>
            <a:r>
              <a:rPr lang="en-US"/>
              <a:t>Click to add title</a:t>
            </a:r>
          </a:p>
        </p:txBody>
      </p:sp>
      <p:pic>
        <p:nvPicPr>
          <p:cNvPr id="12" name="Picture 11">
            <a:extLst>
              <a:ext uri="{FF2B5EF4-FFF2-40B4-BE49-F238E27FC236}">
                <a16:creationId xmlns:a16="http://schemas.microsoft.com/office/drawing/2014/main" id="{4C0B9DF6-D287-43A2-994A-16664D60EF91}"/>
              </a:ext>
            </a:extLst>
          </p:cNvPr>
          <p:cNvPicPr>
            <a:picLocks noChangeAspect="1"/>
          </p:cNvPicPr>
          <p:nvPr userDrawn="1"/>
        </p:nvPicPr>
        <p:blipFill>
          <a:blip r:embed="rId5"/>
          <a:stretch>
            <a:fillRect/>
          </a:stretch>
        </p:blipFill>
        <p:spPr>
          <a:xfrm>
            <a:off x="45720" y="52248"/>
            <a:ext cx="651797" cy="290652"/>
          </a:xfrm>
          <a:prstGeom prst="rect">
            <a:avLst/>
          </a:prstGeom>
        </p:spPr>
      </p:pic>
    </p:spTree>
    <p:extLst>
      <p:ext uri="{BB962C8B-B14F-4D97-AF65-F5344CB8AC3E}">
        <p14:creationId xmlns:p14="http://schemas.microsoft.com/office/powerpoint/2010/main" val="2607986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AB4AF1-CB2F-4E18-9761-00755C3BC260}"/>
              </a:ext>
            </a:extLst>
          </p:cNvPr>
          <p:cNvGraphicFramePr>
            <a:graphicFrameLocks noChangeAspect="1"/>
          </p:cNvGraphicFramePr>
          <p:nvPr userDrawn="1">
            <p:custDataLst>
              <p:tags r:id="rId1"/>
            </p:custDataLst>
            <p:extLst>
              <p:ext uri="{D42A27DB-BD31-4B8C-83A1-F6EECF244321}">
                <p14:modId xmlns:p14="http://schemas.microsoft.com/office/powerpoint/2010/main" val="2495003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CFAB4AF1-CB2F-4E18-9761-00755C3BC2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bwMode="blackWhite">
          <a:xfrm>
            <a:off x="628650" y="2668041"/>
            <a:ext cx="10934700"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DA3E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628650" y="1424081"/>
            <a:ext cx="951721" cy="951721"/>
          </a:xfrm>
          <a:prstGeom prst="rect">
            <a:avLst/>
          </a:prstGeom>
          <a:noFill/>
          <a:ln>
            <a:solidFill>
              <a:srgbClr val="0DA3E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78261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06E9B09-A3D2-4AD3-A36F-F8185EB00DB2}"/>
              </a:ext>
            </a:extLst>
          </p:cNvPr>
          <p:cNvGraphicFramePr>
            <a:graphicFrameLocks noChangeAspect="1"/>
          </p:cNvGraphicFramePr>
          <p:nvPr userDrawn="1">
            <p:custDataLst>
              <p:tags r:id="rId1"/>
            </p:custDataLst>
            <p:extLst>
              <p:ext uri="{D42A27DB-BD31-4B8C-83A1-F6EECF244321}">
                <p14:modId xmlns:p14="http://schemas.microsoft.com/office/powerpoint/2010/main" val="21340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A06E9B09-A3D2-4AD3-A36F-F8185EB00D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DA3E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0DA3E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3137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D98AF5-7430-45B6-97E5-C0D4C56C7D82}"/>
              </a:ext>
            </a:extLst>
          </p:cNvPr>
          <p:cNvGraphicFramePr>
            <a:graphicFrameLocks noChangeAspect="1"/>
          </p:cNvGraphicFramePr>
          <p:nvPr userDrawn="1">
            <p:custDataLst>
              <p:tags r:id="rId1"/>
            </p:custDataLst>
            <p:extLst>
              <p:ext uri="{D42A27DB-BD31-4B8C-83A1-F6EECF244321}">
                <p14:modId xmlns:p14="http://schemas.microsoft.com/office/powerpoint/2010/main" val="3152758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BBD98AF5-7430-45B6-97E5-C0D4C56C7D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DA3E2"/>
                </a:solidFill>
                <a:latin typeface="+mj-lt"/>
                <a:ea typeface="+mj-ea"/>
                <a:cs typeface="+mj-cs"/>
                <a:sym typeface="Trebuchet MS" panose="020B0603020202020204" pitchFamily="34" charset="0"/>
              </a:defRPr>
            </a:lvl1pPr>
          </a:lstStyle>
          <a:p>
            <a:r>
              <a:rPr lang="en-US"/>
              <a:t>Click to add title</a:t>
            </a:r>
          </a:p>
        </p:txBody>
      </p:sp>
      <p:pic>
        <p:nvPicPr>
          <p:cNvPr id="12" name="Picture 11">
            <a:extLst>
              <a:ext uri="{FF2B5EF4-FFF2-40B4-BE49-F238E27FC236}">
                <a16:creationId xmlns:a16="http://schemas.microsoft.com/office/drawing/2014/main" id="{3BFABC00-12AF-4E53-8BCA-EEBFE6B02ADF}"/>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1655439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24EA13-8E2A-49E9-AD21-B50FD6979653}"/>
              </a:ext>
            </a:extLst>
          </p:cNvPr>
          <p:cNvGraphicFramePr>
            <a:graphicFrameLocks noChangeAspect="1"/>
          </p:cNvGraphicFramePr>
          <p:nvPr userDrawn="1">
            <p:custDataLst>
              <p:tags r:id="rId1"/>
            </p:custDataLst>
            <p:extLst>
              <p:ext uri="{D42A27DB-BD31-4B8C-83A1-F6EECF244321}">
                <p14:modId xmlns:p14="http://schemas.microsoft.com/office/powerpoint/2010/main" val="2938632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1A24EA13-8E2A-49E9-AD21-B50FD69796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0DA3E2"/>
                </a:solidFill>
                <a:latin typeface="+mj-lt"/>
                <a:ea typeface="+mj-ea"/>
                <a:cs typeface="+mj-cs"/>
                <a:sym typeface="Trebuchet MS" panose="020B0603020202020204" pitchFamily="34" charset="0"/>
              </a:defRPr>
            </a:lvl1pPr>
          </a:lstStyle>
          <a:p>
            <a:r>
              <a:rPr lang="en-US"/>
              <a:t>Click to add title</a:t>
            </a:r>
          </a:p>
        </p:txBody>
      </p:sp>
      <p:pic>
        <p:nvPicPr>
          <p:cNvPr id="12" name="Picture 11">
            <a:extLst>
              <a:ext uri="{FF2B5EF4-FFF2-40B4-BE49-F238E27FC236}">
                <a16:creationId xmlns:a16="http://schemas.microsoft.com/office/drawing/2014/main" id="{C26EFDFD-0954-4FDA-9219-73AA729F9A57}"/>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3209638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F4D9E7-0009-4E9D-8F21-DFDC86812F20}"/>
              </a:ext>
            </a:extLst>
          </p:cNvPr>
          <p:cNvGraphicFramePr>
            <a:graphicFrameLocks noChangeAspect="1"/>
          </p:cNvGraphicFramePr>
          <p:nvPr userDrawn="1">
            <p:custDataLst>
              <p:tags r:id="rId1"/>
            </p:custDataLst>
            <p:extLst>
              <p:ext uri="{D42A27DB-BD31-4B8C-83A1-F6EECF244321}">
                <p14:modId xmlns:p14="http://schemas.microsoft.com/office/powerpoint/2010/main" val="2316296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4CF4D9E7-0009-4E9D-8F21-DFDC86812F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0DA3E2"/>
                </a:solidFill>
                <a:latin typeface="+mj-lt"/>
                <a:ea typeface="+mj-ea"/>
                <a:cs typeface="+mj-cs"/>
                <a:sym typeface="Trebuchet MS" panose="020B0603020202020204" pitchFamily="34" charset="0"/>
              </a:defRPr>
            </a:lvl1pPr>
          </a:lstStyle>
          <a:p>
            <a:r>
              <a:rPr lang="en-US"/>
              <a:t>Click to add title</a:t>
            </a:r>
          </a:p>
        </p:txBody>
      </p:sp>
      <p:pic>
        <p:nvPicPr>
          <p:cNvPr id="12" name="Picture 11">
            <a:extLst>
              <a:ext uri="{FF2B5EF4-FFF2-40B4-BE49-F238E27FC236}">
                <a16:creationId xmlns:a16="http://schemas.microsoft.com/office/drawing/2014/main" id="{0212A251-9B30-4841-B11A-5BE038CFCF34}"/>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1830321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40560DC-25B6-49A6-B751-2B232AB429A6}"/>
              </a:ext>
            </a:extLst>
          </p:cNvPr>
          <p:cNvGraphicFramePr>
            <a:graphicFrameLocks noChangeAspect="1"/>
          </p:cNvGraphicFramePr>
          <p:nvPr userDrawn="1">
            <p:custDataLst>
              <p:tags r:id="rId1"/>
            </p:custDataLst>
            <p:extLst>
              <p:ext uri="{D42A27DB-BD31-4B8C-83A1-F6EECF244321}">
                <p14:modId xmlns:p14="http://schemas.microsoft.com/office/powerpoint/2010/main" val="300451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340560DC-25B6-49A6-B751-2B232AB429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11" name="Picture 10">
            <a:extLst>
              <a:ext uri="{FF2B5EF4-FFF2-40B4-BE49-F238E27FC236}">
                <a16:creationId xmlns:a16="http://schemas.microsoft.com/office/drawing/2014/main" id="{B1279D28-4FAC-447C-88F7-009AFEAABD25}"/>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1944424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9284211-0293-47D4-A38D-B77425DC2525}"/>
              </a:ext>
            </a:extLst>
          </p:cNvPr>
          <p:cNvGraphicFramePr>
            <a:graphicFrameLocks noChangeAspect="1"/>
          </p:cNvGraphicFramePr>
          <p:nvPr userDrawn="1">
            <p:custDataLst>
              <p:tags r:id="rId1"/>
            </p:custDataLst>
            <p:extLst>
              <p:ext uri="{D42A27DB-BD31-4B8C-83A1-F6EECF244321}">
                <p14:modId xmlns:p14="http://schemas.microsoft.com/office/powerpoint/2010/main" val="2104206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9284211-0293-47D4-A38D-B77425DC25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332399"/>
          </a:xfrm>
        </p:spPr>
        <p:txBody>
          <a:bodyPr vert="horz" anchor="b"/>
          <a:lstStyle>
            <a:lvl1pPr>
              <a:defRPr sz="2400">
                <a:solidFill>
                  <a:srgbClr val="0DA3E2"/>
                </a:solidFill>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cxnSp>
        <p:nvCxnSpPr>
          <p:cNvPr id="7" name="Straight Connector 6">
            <a:extLst>
              <a:ext uri="{FF2B5EF4-FFF2-40B4-BE49-F238E27FC236}">
                <a16:creationId xmlns:a16="http://schemas.microsoft.com/office/drawing/2014/main" id="{4C48CD59-0C10-4995-82EB-411452D7EB29}"/>
              </a:ext>
            </a:extLst>
          </p:cNvPr>
          <p:cNvCxnSpPr/>
          <p:nvPr userDrawn="1"/>
        </p:nvCxnSpPr>
        <p:spPr>
          <a:xfrm>
            <a:off x="628650" y="1061884"/>
            <a:ext cx="11563350" cy="0"/>
          </a:xfrm>
          <a:prstGeom prst="line">
            <a:avLst/>
          </a:prstGeom>
          <a:noFill/>
          <a:ln w="9525" cap="rnd" cmpd="sng" algn="ctr">
            <a:solidFill>
              <a:srgbClr val="0DA3E2"/>
            </a:solidFill>
            <a:prstDash val="solid"/>
            <a:round/>
          </a:ln>
          <a:effectLst/>
        </p:spPr>
      </p:cxnSp>
    </p:spTree>
    <p:extLst>
      <p:ext uri="{BB962C8B-B14F-4D97-AF65-F5344CB8AC3E}">
        <p14:creationId xmlns:p14="http://schemas.microsoft.com/office/powerpoint/2010/main" val="3187414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307F548-D04E-4A03-85AF-413363D0FD1D}"/>
              </a:ext>
            </a:extLst>
          </p:cNvPr>
          <p:cNvGraphicFramePr>
            <a:graphicFrameLocks noChangeAspect="1"/>
          </p:cNvGraphicFramePr>
          <p:nvPr userDrawn="1">
            <p:custDataLst>
              <p:tags r:id="rId1"/>
            </p:custDataLst>
            <p:extLst>
              <p:ext uri="{D42A27DB-BD31-4B8C-83A1-F6EECF244321}">
                <p14:modId xmlns:p14="http://schemas.microsoft.com/office/powerpoint/2010/main" val="1572524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2307F548-D04E-4A03-85AF-413363D0FD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16" name="Picture 15">
            <a:extLst>
              <a:ext uri="{FF2B5EF4-FFF2-40B4-BE49-F238E27FC236}">
                <a16:creationId xmlns:a16="http://schemas.microsoft.com/office/drawing/2014/main" id="{53189642-BFFF-4704-AF2E-9FEC219D190D}"/>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1931945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6778920-5ADB-491D-9C73-7E50C40E172A}"/>
              </a:ext>
            </a:extLst>
          </p:cNvPr>
          <p:cNvGraphicFramePr>
            <a:graphicFrameLocks noChangeAspect="1"/>
          </p:cNvGraphicFramePr>
          <p:nvPr userDrawn="1">
            <p:custDataLst>
              <p:tags r:id="rId1"/>
            </p:custDataLst>
            <p:extLst>
              <p:ext uri="{D42A27DB-BD31-4B8C-83A1-F6EECF244321}">
                <p14:modId xmlns:p14="http://schemas.microsoft.com/office/powerpoint/2010/main" val="63178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86778920-5ADB-491D-9C73-7E50C40E1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pic>
        <p:nvPicPr>
          <p:cNvPr id="16" name="Picture 15">
            <a:extLst>
              <a:ext uri="{FF2B5EF4-FFF2-40B4-BE49-F238E27FC236}">
                <a16:creationId xmlns:a16="http://schemas.microsoft.com/office/drawing/2014/main" id="{359ED8A8-6386-4449-9067-9FF50E1E2AE5}"/>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826216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337170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0DA3E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D0CF2B3F-B45B-407C-9735-7EF467417774}"/>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720808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2B98722-27BB-4F1C-8423-34F162E65A13}"/>
              </a:ext>
            </a:extLst>
          </p:cNvPr>
          <p:cNvGraphicFramePr>
            <a:graphicFrameLocks noChangeAspect="1"/>
          </p:cNvGraphicFramePr>
          <p:nvPr userDrawn="1">
            <p:custDataLst>
              <p:tags r:id="rId1"/>
            </p:custDataLst>
            <p:extLst>
              <p:ext uri="{D42A27DB-BD31-4B8C-83A1-F6EECF244321}">
                <p14:modId xmlns:p14="http://schemas.microsoft.com/office/powerpoint/2010/main" val="1234370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42B98722-27BB-4F1C-8423-34F162E65A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97A56"/>
              </a:gs>
              <a:gs pos="100000">
                <a:srgbClr val="0DA3E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a:extLst>
              <a:ext uri="{FF2B5EF4-FFF2-40B4-BE49-F238E27FC236}">
                <a16:creationId xmlns:a16="http://schemas.microsoft.com/office/drawing/2014/main" id="{1CEB5426-1AA0-49E5-82AF-30647424B447}"/>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1859927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8CDE288-F6B3-4864-9FC0-0EF5E673D529}"/>
              </a:ext>
            </a:extLst>
          </p:cNvPr>
          <p:cNvGraphicFramePr>
            <a:graphicFrameLocks noChangeAspect="1"/>
          </p:cNvGraphicFramePr>
          <p:nvPr userDrawn="1">
            <p:custDataLst>
              <p:tags r:id="rId1"/>
            </p:custDataLst>
            <p:extLst>
              <p:ext uri="{D42A27DB-BD31-4B8C-83A1-F6EECF244321}">
                <p14:modId xmlns:p14="http://schemas.microsoft.com/office/powerpoint/2010/main" val="725723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A8CDE288-F6B3-4864-9FC0-0EF5E673D5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DA3E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70B5C096-74E2-48E7-953B-5CB3125911F8}"/>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3025978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5CB7A12-A5D6-4DCE-9880-9BA81AD121B3}"/>
              </a:ext>
            </a:extLst>
          </p:cNvPr>
          <p:cNvGraphicFramePr>
            <a:graphicFrameLocks noChangeAspect="1"/>
          </p:cNvGraphicFramePr>
          <p:nvPr userDrawn="1">
            <p:custDataLst>
              <p:tags r:id="rId1"/>
            </p:custDataLst>
            <p:extLst>
              <p:ext uri="{D42A27DB-BD31-4B8C-83A1-F6EECF244321}">
                <p14:modId xmlns:p14="http://schemas.microsoft.com/office/powerpoint/2010/main" val="808970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5CB7A12-A5D6-4DCE-9880-9BA81AD121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97A56"/>
              </a:gs>
              <a:gs pos="100000">
                <a:srgbClr val="0DA3E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0" name="Picture 9">
            <a:extLst>
              <a:ext uri="{FF2B5EF4-FFF2-40B4-BE49-F238E27FC236}">
                <a16:creationId xmlns:a16="http://schemas.microsoft.com/office/drawing/2014/main" id="{6104A900-C9B9-4863-B3A9-C8C7CDCF81C6}"/>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3430697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A3CB9D3-7DE4-4B9E-9B70-F6232030DCDE}"/>
              </a:ext>
            </a:extLst>
          </p:cNvPr>
          <p:cNvGraphicFramePr>
            <a:graphicFrameLocks noChangeAspect="1"/>
          </p:cNvGraphicFramePr>
          <p:nvPr userDrawn="1">
            <p:custDataLst>
              <p:tags r:id="rId1"/>
            </p:custDataLst>
            <p:extLst>
              <p:ext uri="{D42A27DB-BD31-4B8C-83A1-F6EECF244321}">
                <p14:modId xmlns:p14="http://schemas.microsoft.com/office/powerpoint/2010/main" val="462392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2A3CB9D3-7DE4-4B9E-9B70-F6232030DC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0DA3E2"/>
                </a:solidFill>
                <a:latin typeface="+mj-lt"/>
                <a:ea typeface="+mj-ea"/>
                <a:cs typeface="+mj-cs"/>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9454FCC9-A0A7-4C66-950E-401B26C1510C}"/>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2830834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E23F29-B64C-4A41-B2CD-18C83159A973}"/>
              </a:ext>
            </a:extLst>
          </p:cNvPr>
          <p:cNvGraphicFramePr>
            <a:graphicFrameLocks noChangeAspect="1"/>
          </p:cNvGraphicFramePr>
          <p:nvPr userDrawn="1">
            <p:custDataLst>
              <p:tags r:id="rId1"/>
            </p:custDataLst>
            <p:extLst>
              <p:ext uri="{D42A27DB-BD31-4B8C-83A1-F6EECF244321}">
                <p14:modId xmlns:p14="http://schemas.microsoft.com/office/powerpoint/2010/main" val="1122348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15E23F29-B64C-4A41-B2CD-18C83159A9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97A56"/>
              </a:gs>
              <a:gs pos="100000">
                <a:srgbClr val="0DA3E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a:extLst>
              <a:ext uri="{FF2B5EF4-FFF2-40B4-BE49-F238E27FC236}">
                <a16:creationId xmlns:a16="http://schemas.microsoft.com/office/drawing/2014/main" id="{DB5F609B-AAC8-4D0A-B5FA-749C81922EA7}"/>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2448624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FA2938B-1687-44A4-B52D-8E4226C135BA}"/>
              </a:ext>
            </a:extLst>
          </p:cNvPr>
          <p:cNvGraphicFramePr>
            <a:graphicFrameLocks noChangeAspect="1"/>
          </p:cNvGraphicFramePr>
          <p:nvPr userDrawn="1">
            <p:custDataLst>
              <p:tags r:id="rId1"/>
            </p:custDataLst>
            <p:extLst>
              <p:ext uri="{D42A27DB-BD31-4B8C-83A1-F6EECF244321}">
                <p14:modId xmlns:p14="http://schemas.microsoft.com/office/powerpoint/2010/main" val="1028946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4FA2938B-1687-44A4-B52D-8E4226C135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0DA3E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A16DE992-56A7-4C0A-B2E9-3522A7FC87DE}"/>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2888747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1ECF2F2-B66D-4EF4-8795-F946164F3F20}"/>
              </a:ext>
            </a:extLst>
          </p:cNvPr>
          <p:cNvGraphicFramePr>
            <a:graphicFrameLocks noChangeAspect="1"/>
          </p:cNvGraphicFramePr>
          <p:nvPr userDrawn="1">
            <p:custDataLst>
              <p:tags r:id="rId1"/>
            </p:custDataLst>
            <p:extLst>
              <p:ext uri="{D42A27DB-BD31-4B8C-83A1-F6EECF244321}">
                <p14:modId xmlns:p14="http://schemas.microsoft.com/office/powerpoint/2010/main" val="3373245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E1ECF2F2-B66D-4EF4-8795-F946164F3F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97A56"/>
              </a:gs>
              <a:gs pos="100000">
                <a:srgbClr val="0DA3E2"/>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a:extLst>
              <a:ext uri="{FF2B5EF4-FFF2-40B4-BE49-F238E27FC236}">
                <a16:creationId xmlns:a16="http://schemas.microsoft.com/office/drawing/2014/main" id="{0B041616-2DBB-4B0D-9E6F-BB055D4B0952}"/>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3332006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95D36F-59AF-4932-B8B8-7D99E6BB68A5}"/>
              </a:ext>
            </a:extLst>
          </p:cNvPr>
          <p:cNvGraphicFramePr>
            <a:graphicFrameLocks noChangeAspect="1"/>
          </p:cNvGraphicFramePr>
          <p:nvPr userDrawn="1">
            <p:custDataLst>
              <p:tags r:id="rId1"/>
            </p:custDataLst>
            <p:extLst>
              <p:ext uri="{D42A27DB-BD31-4B8C-83A1-F6EECF244321}">
                <p14:modId xmlns:p14="http://schemas.microsoft.com/office/powerpoint/2010/main" val="1649481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9B95D36F-59AF-4932-B8B8-7D99E6BB68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2400">
                <a:solidFill>
                  <a:srgbClr val="0DA3E2"/>
                </a:solidFill>
                <a:latin typeface="+mj-lt"/>
                <a:ea typeface="+mj-ea"/>
                <a:cs typeface="+mj-cs"/>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12" name="Picture 11">
            <a:extLst>
              <a:ext uri="{FF2B5EF4-FFF2-40B4-BE49-F238E27FC236}">
                <a16:creationId xmlns:a16="http://schemas.microsoft.com/office/drawing/2014/main" id="{D56B3CB4-9873-48B0-8626-2FB50B2C13D9}"/>
              </a:ext>
            </a:extLst>
          </p:cNvPr>
          <p:cNvPicPr>
            <a:picLocks noChangeAspect="1"/>
          </p:cNvPicPr>
          <p:nvPr userDrawn="1"/>
        </p:nvPicPr>
        <p:blipFill>
          <a:blip r:embed="rId5"/>
          <a:stretch>
            <a:fillRect/>
          </a:stretch>
        </p:blipFill>
        <p:spPr>
          <a:xfrm>
            <a:off x="45720" y="52248"/>
            <a:ext cx="651797" cy="290652"/>
          </a:xfrm>
          <a:prstGeom prst="rect">
            <a:avLst/>
          </a:prstGeom>
        </p:spPr>
      </p:pic>
    </p:spTree>
    <p:extLst>
      <p:ext uri="{BB962C8B-B14F-4D97-AF65-F5344CB8AC3E}">
        <p14:creationId xmlns:p14="http://schemas.microsoft.com/office/powerpoint/2010/main" val="370123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9E4C361-ABAB-44D9-8C76-1A4766E58D52}"/>
              </a:ext>
            </a:extLst>
          </p:cNvPr>
          <p:cNvGraphicFramePr>
            <a:graphicFrameLocks noChangeAspect="1"/>
          </p:cNvGraphicFramePr>
          <p:nvPr userDrawn="1">
            <p:custDataLst>
              <p:tags r:id="rId1"/>
            </p:custDataLst>
            <p:extLst>
              <p:ext uri="{D42A27DB-BD31-4B8C-83A1-F6EECF244321}">
                <p14:modId xmlns:p14="http://schemas.microsoft.com/office/powerpoint/2010/main" val="182157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49E4C361-ABAB-44D9-8C76-1A4766E58D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Picture 11">
            <a:extLst>
              <a:ext uri="{FF2B5EF4-FFF2-40B4-BE49-F238E27FC236}">
                <a16:creationId xmlns:a16="http://schemas.microsoft.com/office/drawing/2014/main" id="{147C657B-4823-432C-90FB-174089B32788}"/>
              </a:ext>
            </a:extLst>
          </p:cNvPr>
          <p:cNvPicPr>
            <a:picLocks noChangeAspect="1"/>
          </p:cNvPicPr>
          <p:nvPr userDrawn="1"/>
        </p:nvPicPr>
        <p:blipFill>
          <a:blip r:embed="rId5"/>
          <a:stretch>
            <a:fillRect/>
          </a:stretch>
        </p:blipFill>
        <p:spPr>
          <a:xfrm>
            <a:off x="45720" y="52248"/>
            <a:ext cx="651797" cy="290652"/>
          </a:xfrm>
          <a:prstGeom prst="rect">
            <a:avLst/>
          </a:prstGeom>
        </p:spPr>
      </p:pic>
    </p:spTree>
    <p:extLst>
      <p:ext uri="{BB962C8B-B14F-4D97-AF65-F5344CB8AC3E}">
        <p14:creationId xmlns:p14="http://schemas.microsoft.com/office/powerpoint/2010/main" val="1845183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5357BF-C54D-423D-A11F-438BBE2E2510}"/>
              </a:ext>
            </a:extLst>
          </p:cNvPr>
          <p:cNvGraphicFramePr>
            <a:graphicFrameLocks noChangeAspect="1"/>
          </p:cNvGraphicFramePr>
          <p:nvPr userDrawn="1">
            <p:custDataLst>
              <p:tags r:id="rId1"/>
            </p:custDataLst>
            <p:extLst>
              <p:ext uri="{D42A27DB-BD31-4B8C-83A1-F6EECF244321}">
                <p14:modId xmlns:p14="http://schemas.microsoft.com/office/powerpoint/2010/main" val="118825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455357BF-C54D-423D-A11F-438BBE2E25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0DA3E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DA3E2"/>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586462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5455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428771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DA3E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pic>
        <p:nvPicPr>
          <p:cNvPr id="9" name="Picture 8">
            <a:extLst>
              <a:ext uri="{FF2B5EF4-FFF2-40B4-BE49-F238E27FC236}">
                <a16:creationId xmlns:a16="http://schemas.microsoft.com/office/drawing/2014/main" id="{78F6E46E-F5C5-4475-B454-7673A3930DFA}"/>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72820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302BA17-2FE9-49A5-B42B-1123C9A0C740}"/>
              </a:ext>
            </a:extLst>
          </p:cNvPr>
          <p:cNvGraphicFramePr>
            <a:graphicFrameLocks noChangeAspect="1"/>
          </p:cNvGraphicFramePr>
          <p:nvPr userDrawn="1">
            <p:custDataLst>
              <p:tags r:id="rId1"/>
            </p:custDataLst>
            <p:extLst>
              <p:ext uri="{D42A27DB-BD31-4B8C-83A1-F6EECF244321}">
                <p14:modId xmlns:p14="http://schemas.microsoft.com/office/powerpoint/2010/main" val="1651924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3302BA17-2FE9-49A5-B42B-1123C9A0C7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9" name="Picture 8">
            <a:extLst>
              <a:ext uri="{FF2B5EF4-FFF2-40B4-BE49-F238E27FC236}">
                <a16:creationId xmlns:a16="http://schemas.microsoft.com/office/drawing/2014/main" id="{8F02CD59-B0B0-4082-A05C-07C4897D968C}"/>
              </a:ext>
            </a:extLst>
          </p:cNvPr>
          <p:cNvPicPr>
            <a:picLocks noChangeAspect="1"/>
          </p:cNvPicPr>
          <p:nvPr userDrawn="1"/>
        </p:nvPicPr>
        <p:blipFill>
          <a:blip r:embed="rId5"/>
          <a:stretch>
            <a:fillRect/>
          </a:stretch>
        </p:blipFill>
        <p:spPr>
          <a:xfrm>
            <a:off x="45720" y="52248"/>
            <a:ext cx="651797" cy="290652"/>
          </a:xfrm>
          <a:prstGeom prst="rect">
            <a:avLst/>
          </a:prstGeom>
        </p:spPr>
      </p:pic>
    </p:spTree>
    <p:extLst>
      <p:ext uri="{BB962C8B-B14F-4D97-AF65-F5344CB8AC3E}">
        <p14:creationId xmlns:p14="http://schemas.microsoft.com/office/powerpoint/2010/main" val="2337359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81A24F3-6A48-4BE6-B0C4-68E81488D1B4}"/>
              </a:ext>
            </a:extLst>
          </p:cNvPr>
          <p:cNvGraphicFramePr>
            <a:graphicFrameLocks noChangeAspect="1"/>
          </p:cNvGraphicFramePr>
          <p:nvPr userDrawn="1">
            <p:custDataLst>
              <p:tags r:id="rId1"/>
            </p:custDataLst>
            <p:extLst>
              <p:ext uri="{D42A27DB-BD31-4B8C-83A1-F6EECF244321}">
                <p14:modId xmlns:p14="http://schemas.microsoft.com/office/powerpoint/2010/main" val="1404784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681A24F3-6A48-4BE6-B0C4-68E81488D1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DA3E2"/>
                </a:solidFill>
                <a:latin typeface="+mn-lt"/>
                <a:ea typeface="+mn-ea"/>
                <a:cs typeface="+mn-cs"/>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DA5BBF9C-49CC-48FC-A7CF-4D5AE0281B04}"/>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1195663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882A1D1-3606-4A73-B810-78EA44D97720}"/>
              </a:ext>
            </a:extLst>
          </p:cNvPr>
          <p:cNvGraphicFramePr>
            <a:graphicFrameLocks noChangeAspect="1"/>
          </p:cNvGraphicFramePr>
          <p:nvPr userDrawn="1">
            <p:custDataLst>
              <p:tags r:id="rId1"/>
            </p:custDataLst>
            <p:extLst>
              <p:ext uri="{D42A27DB-BD31-4B8C-83A1-F6EECF244321}">
                <p14:modId xmlns:p14="http://schemas.microsoft.com/office/powerpoint/2010/main" val="2726868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D882A1D1-3606-4A73-B810-78EA44D977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8" name="Picture 7">
            <a:extLst>
              <a:ext uri="{FF2B5EF4-FFF2-40B4-BE49-F238E27FC236}">
                <a16:creationId xmlns:a16="http://schemas.microsoft.com/office/drawing/2014/main" id="{DC7F8118-5BE4-4377-B3E4-76ABAA9CE5C1}"/>
              </a:ext>
            </a:extLst>
          </p:cNvPr>
          <p:cNvPicPr>
            <a:picLocks noChangeAspect="1"/>
          </p:cNvPicPr>
          <p:nvPr userDrawn="1"/>
        </p:nvPicPr>
        <p:blipFill>
          <a:blip r:embed="rId5"/>
          <a:stretch>
            <a:fillRect/>
          </a:stretch>
        </p:blipFill>
        <p:spPr>
          <a:xfrm>
            <a:off x="45720" y="52248"/>
            <a:ext cx="651797" cy="290652"/>
          </a:xfrm>
          <a:prstGeom prst="rect">
            <a:avLst/>
          </a:prstGeom>
        </p:spPr>
      </p:pic>
    </p:spTree>
    <p:extLst>
      <p:ext uri="{BB962C8B-B14F-4D97-AF65-F5344CB8AC3E}">
        <p14:creationId xmlns:p14="http://schemas.microsoft.com/office/powerpoint/2010/main" val="3488656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D45B7EB-EA42-4E53-801D-7DDD9C918D69}"/>
              </a:ext>
            </a:extLst>
          </p:cNvPr>
          <p:cNvGraphicFramePr>
            <a:graphicFrameLocks noChangeAspect="1"/>
          </p:cNvGraphicFramePr>
          <p:nvPr userDrawn="1">
            <p:custDataLst>
              <p:tags r:id="rId1"/>
            </p:custDataLst>
            <p:extLst>
              <p:ext uri="{D42A27DB-BD31-4B8C-83A1-F6EECF244321}">
                <p14:modId xmlns:p14="http://schemas.microsoft.com/office/powerpoint/2010/main" val="1757568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9D45B7EB-EA42-4E53-801D-7DDD9C918D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800091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CF23F80-9546-4DC9-B35F-26B218F4D864}"/>
              </a:ext>
            </a:extLst>
          </p:cNvPr>
          <p:cNvGraphicFramePr>
            <a:graphicFrameLocks noChangeAspect="1"/>
          </p:cNvGraphicFramePr>
          <p:nvPr userDrawn="1">
            <p:custDataLst>
              <p:tags r:id="rId1"/>
            </p:custDataLst>
            <p:extLst>
              <p:ext uri="{D42A27DB-BD31-4B8C-83A1-F6EECF244321}">
                <p14:modId xmlns:p14="http://schemas.microsoft.com/office/powerpoint/2010/main" val="49650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8CF23F80-9546-4DC9-B35F-26B218F4D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4" name="Rectangle 13">
            <a:extLst>
              <a:ext uri="{FF2B5EF4-FFF2-40B4-BE49-F238E27FC236}">
                <a16:creationId xmlns:a16="http://schemas.microsoft.com/office/drawing/2014/main" id="{D638F799-AFBE-4AEC-9245-F9429A76DF1A}"/>
              </a:ext>
            </a:extLst>
          </p:cNvPr>
          <p:cNvSpPr/>
          <p:nvPr userDrawn="1"/>
        </p:nvSpPr>
        <p:spPr>
          <a:xfrm>
            <a:off x="5021826" y="1630185"/>
            <a:ext cx="6209072" cy="3392129"/>
          </a:xfrm>
          <a:prstGeom prst="rect">
            <a:avLst/>
          </a:prstGeom>
        </p:spPr>
        <p:txBody>
          <a:bodyPr wrap="square" lIns="0" tIns="0" rIns="0" bIns="0" anchor="ctr">
            <a:spAutoFit/>
          </a:bodyPr>
          <a:lstStyle/>
          <a:p>
            <a:pPr indent="0">
              <a:lnSpc>
                <a:spcPct val="100000"/>
              </a:lnSpc>
            </a:pPr>
            <a:r>
              <a:rPr lang="en-US" sz="900" b="0">
                <a:solidFill>
                  <a:srgbClr val="333333"/>
                </a:solidFill>
                <a:latin typeface="+mn-lt"/>
                <a:sym typeface="Trebuchet MS" panose="020B0603020202020204" pitchFamily="34" charset="0"/>
              </a:rPr>
              <a:t>The services and materials provided by Boston Consulting Group (BCG) are subject to BCG's Standard Terms </a:t>
            </a:r>
            <a:br>
              <a:rPr lang="en-US" sz="900" b="0">
                <a:solidFill>
                  <a:srgbClr val="333333"/>
                </a:solidFill>
                <a:latin typeface="+mn-lt"/>
                <a:sym typeface="Trebuchet MS" panose="020B0603020202020204" pitchFamily="34" charset="0"/>
              </a:rPr>
            </a:br>
            <a:r>
              <a:rPr lang="en-US" sz="900" b="0">
                <a:solidFill>
                  <a:srgbClr val="333333"/>
                </a:solidFill>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solidFill>
                  <a:srgbClr val="333333"/>
                </a:solidFill>
                <a:latin typeface="+mn-lt"/>
                <a:sym typeface="Trebuchet MS" panose="020B0603020202020204" pitchFamily="34" charset="0"/>
              </a:rPr>
            </a:br>
            <a:r>
              <a:rPr lang="en-US" sz="900" b="0">
                <a:solidFill>
                  <a:srgbClr val="333333"/>
                </a:solidFill>
                <a:latin typeface="+mn-lt"/>
                <a:sym typeface="Trebuchet MS" panose="020B0603020202020204" pitchFamily="34" charset="0"/>
              </a:rPr>
              <a:t>to update these materials after the date hereof, notwithstanding that such information may become outdated </a:t>
            </a:r>
            <a:br>
              <a:rPr lang="en-US" sz="900" b="0">
                <a:solidFill>
                  <a:srgbClr val="333333"/>
                </a:solidFill>
                <a:latin typeface="+mn-lt"/>
                <a:sym typeface="Trebuchet MS" panose="020B0603020202020204" pitchFamily="34" charset="0"/>
              </a:rPr>
            </a:br>
            <a:r>
              <a:rPr lang="en-US" sz="900" b="0">
                <a:solidFill>
                  <a:srgbClr val="333333"/>
                </a:solidFill>
                <a:latin typeface="+mn-lt"/>
                <a:sym typeface="Trebuchet MS" panose="020B0603020202020204" pitchFamily="34" charset="0"/>
              </a:rPr>
              <a:t>or inaccurate.</a:t>
            </a:r>
          </a:p>
          <a:p>
            <a:pPr indent="0">
              <a:lnSpc>
                <a:spcPct val="100000"/>
              </a:lnSpc>
            </a:pPr>
            <a:r>
              <a:rPr lang="en-US" sz="900" b="0">
                <a:solidFill>
                  <a:srgbClr val="333333"/>
                </a:solidFill>
                <a:latin typeface="+mn-lt"/>
                <a:sym typeface="Trebuchet MS" panose="020B0603020202020204" pitchFamily="34" charset="0"/>
              </a:rPr>
              <a:t> </a:t>
            </a:r>
          </a:p>
          <a:p>
            <a:pPr indent="0">
              <a:lnSpc>
                <a:spcPct val="100000"/>
              </a:lnSpc>
            </a:pPr>
            <a:r>
              <a:rPr lang="en-US" sz="900" b="0">
                <a:solidFill>
                  <a:srgbClr val="333333"/>
                </a:solidFill>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solidFill>
                <a:srgbClr val="333333"/>
              </a:solidFill>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solidFill>
                  <a:srgbClr val="333333"/>
                </a:solidFill>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Tree>
    <p:extLst>
      <p:ext uri="{BB962C8B-B14F-4D97-AF65-F5344CB8AC3E}">
        <p14:creationId xmlns:p14="http://schemas.microsoft.com/office/powerpoint/2010/main" val="1205624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265555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8B5F284-04FA-4891-847C-06B9F96A1E46}"/>
              </a:ext>
            </a:extLst>
          </p:cNvPr>
          <p:cNvPicPr>
            <a:picLocks noChangeAspect="1"/>
          </p:cNvPicPr>
          <p:nvPr userDrawn="1"/>
        </p:nvPicPr>
        <p:blipFill>
          <a:blip r:embed="rId5">
            <a:extLst>
              <a:ext uri="{BEBA8EAE-BF5A-486C-A8C5-ECC9F3942E4B}">
                <a14:imgProps xmlns:a14="http://schemas.microsoft.com/office/drawing/2010/main">
                  <a14:imgLayer r:embed="rId6">
                    <a14:imgEffect>
                      <a14:saturation sat="0"/>
                    </a14:imgEffect>
                  </a14:imgLayer>
                </a14:imgProps>
              </a:ext>
            </a:extLst>
          </a:blip>
          <a:srcRect t="221" b="221"/>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1" name="Rectangle 10">
            <a:extLst>
              <a:ext uri="{FF2B5EF4-FFF2-40B4-BE49-F238E27FC236}">
                <a16:creationId xmlns:a16="http://schemas.microsoft.com/office/drawing/2014/main" id="{B3D4D82C-AED5-40A8-A73E-BAFF5CA12054}"/>
              </a:ext>
            </a:extLst>
          </p:cNvPr>
          <p:cNvSpPr/>
          <p:nvPr userDrawn="1"/>
        </p:nvSpPr>
        <p:spPr>
          <a:xfrm>
            <a:off x="0" y="0"/>
            <a:ext cx="12192000" cy="6858000"/>
          </a:xfrm>
          <a:prstGeom prst="rect">
            <a:avLst/>
          </a:prstGeom>
          <a:gradFill flip="none" rotWithShape="1">
            <a:gsLst>
              <a:gs pos="0">
                <a:srgbClr val="00598E">
                  <a:alpha val="80000"/>
                </a:srgbClr>
              </a:gs>
              <a:gs pos="30000">
                <a:srgbClr val="0DA3E2">
                  <a:alpha val="63000"/>
                </a:srgbClr>
              </a:gs>
              <a:gs pos="62000">
                <a:srgbClr val="FFFFFF">
                  <a:alpha val="56000"/>
                </a:srgbClr>
              </a:gs>
            </a:gsLst>
            <a:lin ang="11400000" scaled="0"/>
            <a:tileRect/>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Trebuchet MS"/>
              <a:ea typeface="+mn-ea"/>
              <a:cs typeface="+mn-cs"/>
            </a:endParaRPr>
          </a:p>
        </p:txBody>
      </p:sp>
      <p:sp>
        <p:nvSpPr>
          <p:cNvPr id="13" name="TextBox 12">
            <a:extLst>
              <a:ext uri="{FF2B5EF4-FFF2-40B4-BE49-F238E27FC236}">
                <a16:creationId xmlns:a16="http://schemas.microsoft.com/office/drawing/2014/main" id="{2DE8134C-EFE6-4FE3-88D1-74E1FCD68D9B}"/>
              </a:ext>
            </a:extLst>
          </p:cNvPr>
          <p:cNvSpPr txBox="1"/>
          <p:nvPr userDrawn="1"/>
        </p:nvSpPr>
        <p:spPr>
          <a:xfrm>
            <a:off x="515240" y="2371472"/>
            <a:ext cx="5140493" cy="1089529"/>
          </a:xfrm>
          <a:prstGeom prst="rect">
            <a:avLst/>
          </a:prstGeom>
          <a:noFill/>
        </p:spPr>
        <p:txBody>
          <a:bodyPr wrap="square"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id-ID" sz="7200" b="1" i="0" u="none" strike="noStrike" kern="1200" cap="none" spc="0" normalizeH="0" baseline="0" noProof="0">
                <a:ln>
                  <a:noFill/>
                </a:ln>
                <a:solidFill>
                  <a:srgbClr val="05455F"/>
                </a:solidFill>
                <a:effectLst/>
                <a:uLnTx/>
                <a:uFillTx/>
              </a:rPr>
              <a:t>Thank You</a:t>
            </a:r>
          </a:p>
        </p:txBody>
      </p:sp>
      <p:cxnSp>
        <p:nvCxnSpPr>
          <p:cNvPr id="24" name="Straight Connector 23">
            <a:extLst>
              <a:ext uri="{FF2B5EF4-FFF2-40B4-BE49-F238E27FC236}">
                <a16:creationId xmlns:a16="http://schemas.microsoft.com/office/drawing/2014/main" id="{497998DF-2679-4BDC-AE75-5F62568623AB}"/>
              </a:ext>
            </a:extLst>
          </p:cNvPr>
          <p:cNvCxnSpPr/>
          <p:nvPr userDrawn="1"/>
        </p:nvCxnSpPr>
        <p:spPr>
          <a:xfrm>
            <a:off x="628650" y="3637742"/>
            <a:ext cx="6064248" cy="0"/>
          </a:xfrm>
          <a:prstGeom prst="line">
            <a:avLst/>
          </a:prstGeom>
          <a:noFill/>
          <a:ln w="28575" cap="rnd" cmpd="sng" algn="ctr">
            <a:solidFill>
              <a:srgbClr val="0DA3E2"/>
            </a:solidFill>
            <a:prstDash val="solid"/>
            <a:round/>
          </a:ln>
          <a:effectLst/>
        </p:spPr>
      </p:cxnSp>
      <p:pic>
        <p:nvPicPr>
          <p:cNvPr id="9" name="Picture 8">
            <a:extLst>
              <a:ext uri="{FF2B5EF4-FFF2-40B4-BE49-F238E27FC236}">
                <a16:creationId xmlns:a16="http://schemas.microsoft.com/office/drawing/2014/main" id="{AE0229E5-FC19-4217-829B-D0F4AC9C996D}"/>
              </a:ext>
            </a:extLst>
          </p:cNvPr>
          <p:cNvPicPr>
            <a:picLocks noChangeAspect="1"/>
          </p:cNvPicPr>
          <p:nvPr userDrawn="1"/>
        </p:nvPicPr>
        <p:blipFill>
          <a:blip r:embed="rId7"/>
          <a:stretch>
            <a:fillRect/>
          </a:stretch>
        </p:blipFill>
        <p:spPr>
          <a:xfrm>
            <a:off x="628650" y="750017"/>
            <a:ext cx="1619250" cy="722064"/>
          </a:xfrm>
          <a:prstGeom prst="rect">
            <a:avLst/>
          </a:prstGeom>
        </p:spPr>
      </p:pic>
    </p:spTree>
    <p:extLst>
      <p:ext uri="{BB962C8B-B14F-4D97-AF65-F5344CB8AC3E}">
        <p14:creationId xmlns:p14="http://schemas.microsoft.com/office/powerpoint/2010/main" val="1849075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5BAA819-1632-46EA-8AFE-5EBAC54ED5AB}"/>
              </a:ext>
            </a:extLst>
          </p:cNvPr>
          <p:cNvGraphicFramePr>
            <a:graphicFrameLocks noChangeAspect="1"/>
          </p:cNvGraphicFramePr>
          <p:nvPr userDrawn="1">
            <p:custDataLst>
              <p:tags r:id="rId1"/>
            </p:custDataLst>
            <p:extLst>
              <p:ext uri="{D42A27DB-BD31-4B8C-83A1-F6EECF244321}">
                <p14:modId xmlns:p14="http://schemas.microsoft.com/office/powerpoint/2010/main" val="3635725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F5BAA819-1632-46EA-8AFE-5EBAC54ED5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grpSp>
        <p:nvGrpSpPr>
          <p:cNvPr id="51" name="Group 50">
            <a:extLst>
              <a:ext uri="{FF2B5EF4-FFF2-40B4-BE49-F238E27FC236}">
                <a16:creationId xmlns:a16="http://schemas.microsoft.com/office/drawing/2014/main" id="{DE6F21B3-4FAB-4404-A5B4-8DE9406B7D13}"/>
              </a:ext>
            </a:extLst>
          </p:cNvPr>
          <p:cNvGrpSpPr/>
          <p:nvPr userDrawn="1"/>
        </p:nvGrpSpPr>
        <p:grpSpPr>
          <a:xfrm>
            <a:off x="-600" y="-1"/>
            <a:ext cx="12193800" cy="6858001"/>
            <a:chOff x="-600" y="-1"/>
            <a:chExt cx="12193800" cy="6858001"/>
          </a:xfrm>
        </p:grpSpPr>
        <p:sp>
          <p:nvSpPr>
            <p:cNvPr id="52" name="Freeform: Shape 51">
              <a:extLst>
                <a:ext uri="{FF2B5EF4-FFF2-40B4-BE49-F238E27FC236}">
                  <a16:creationId xmlns:a16="http://schemas.microsoft.com/office/drawing/2014/main" id="{8B9139DC-C8FA-40CE-A7D2-0A6486AC6770}"/>
                </a:ext>
              </a:extLst>
            </p:cNvPr>
            <p:cNvSpPr/>
            <p:nvPr/>
          </p:nvSpPr>
          <p:spPr>
            <a:xfrm>
              <a:off x="0" y="-1"/>
              <a:ext cx="12193200" cy="6858000"/>
            </a:xfrm>
            <a:custGeom>
              <a:avLst/>
              <a:gdLst>
                <a:gd name="connsiteX0" fmla="*/ 629400 w 12193200"/>
                <a:gd name="connsiteY0" fmla="*/ 6160598 h 6858000"/>
                <a:gd name="connsiteX1" fmla="*/ 629400 w 12193200"/>
                <a:gd name="connsiteY1" fmla="*/ 6559941 h 6858000"/>
                <a:gd name="connsiteX2" fmla="*/ 11561629 w 12193200"/>
                <a:gd name="connsiteY2" fmla="*/ 6559941 h 6858000"/>
                <a:gd name="connsiteX3" fmla="*/ 11561629 w 12193200"/>
                <a:gd name="connsiteY3" fmla="*/ 6160598 h 6858000"/>
                <a:gd name="connsiteX4" fmla="*/ 630001 w 12193200"/>
                <a:gd name="connsiteY4" fmla="*/ 622800 h 6858000"/>
                <a:gd name="connsiteX5" fmla="*/ 630001 w 12193200"/>
                <a:gd name="connsiteY5" fmla="*/ 6160597 h 6858000"/>
                <a:gd name="connsiteX6" fmla="*/ 11562000 w 12193200"/>
                <a:gd name="connsiteY6" fmla="*/ 6160597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29400" y="6160598"/>
                  </a:moveTo>
                  <a:lnTo>
                    <a:pt x="629400" y="6559941"/>
                  </a:lnTo>
                  <a:lnTo>
                    <a:pt x="11561629" y="6559941"/>
                  </a:lnTo>
                  <a:lnTo>
                    <a:pt x="11561629" y="6160598"/>
                  </a:lnTo>
                  <a:close/>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E71C57">
                <a:alpha val="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53" name="Baselines / anchors">
              <a:extLst>
                <a:ext uri="{FF2B5EF4-FFF2-40B4-BE49-F238E27FC236}">
                  <a16:creationId xmlns:a16="http://schemas.microsoft.com/office/drawing/2014/main" id="{C4C2D9CE-DF82-4355-BE01-DF2547F433D5}"/>
                </a:ext>
              </a:extLst>
            </p:cNvPr>
            <p:cNvGrpSpPr/>
            <p:nvPr/>
          </p:nvGrpSpPr>
          <p:grpSpPr>
            <a:xfrm>
              <a:off x="-600" y="622800"/>
              <a:ext cx="12193200" cy="5536800"/>
              <a:chOff x="12623800" y="622800"/>
              <a:chExt cx="11176000" cy="5536800"/>
            </a:xfrm>
          </p:grpSpPr>
          <p:cxnSp>
            <p:nvCxnSpPr>
              <p:cNvPr id="78" name="Straight Connector 77">
                <a:extLst>
                  <a:ext uri="{FF2B5EF4-FFF2-40B4-BE49-F238E27FC236}">
                    <a16:creationId xmlns:a16="http://schemas.microsoft.com/office/drawing/2014/main" id="{BF581ED6-B5D5-4445-9169-280FB14DA903}"/>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42CCF1A-88B0-414E-8AA9-D09E61EC8A9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07EDED26-DC5C-4A28-A256-45B47B874A8D}"/>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784726C-6A92-4939-9609-528F04F3A77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8B847F1-4E36-40EE-9B5A-667907A100B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7FEAC59-BDCF-4E7D-A2A3-74A945E6653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2F72285-CA74-4E52-B7E8-EABDDB60F36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39D6CBB-484A-45F7-8793-9105874FF0A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8562BA3D-DBE1-472F-B1F6-9BB3CCAF9FB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91B1695-8D26-4338-AFE4-503EEF1C253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7C23C77-3E71-4DD8-8524-E85D81AA2C85}"/>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A6A0D82-67D2-4CFB-98FE-D630C1F8E41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58AA449F-8D8E-4797-86A1-223A642A356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1D16FE3-4BC2-4669-ABC4-4DA227EB63F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98FB750-9D9A-497A-B2D1-5AADA754B602}"/>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A792AFB1-2745-4A9F-B2E0-7D88B5E38E9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0173FB06-87E2-4EAF-9D1B-8FCBCF93906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8A760F9-4B46-47F2-B28C-E520A5E71573}"/>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A748362-E5E6-4173-ACB9-65D9D2A0341E}"/>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09E7E56A-A66C-45F7-ACFF-A851FCF9F6D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34046CEC-E3CB-4D42-AF20-84F869FB0A55}"/>
                </a:ext>
              </a:extLst>
            </p:cNvPr>
            <p:cNvGrpSpPr/>
            <p:nvPr/>
          </p:nvGrpSpPr>
          <p:grpSpPr>
            <a:xfrm>
              <a:off x="1277000" y="623550"/>
              <a:ext cx="9638000" cy="5537047"/>
              <a:chOff x="1277000" y="623550"/>
              <a:chExt cx="9638000" cy="5537047"/>
            </a:xfrm>
          </p:grpSpPr>
          <p:sp>
            <p:nvSpPr>
              <p:cNvPr id="67" name="Rectangle 34">
                <a:extLst>
                  <a:ext uri="{FF2B5EF4-FFF2-40B4-BE49-F238E27FC236}">
                    <a16:creationId xmlns:a16="http://schemas.microsoft.com/office/drawing/2014/main" id="{CEDC1D4E-949C-4AA5-B0D0-2FB32942275E}"/>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35">
                <a:extLst>
                  <a:ext uri="{FF2B5EF4-FFF2-40B4-BE49-F238E27FC236}">
                    <a16:creationId xmlns:a16="http://schemas.microsoft.com/office/drawing/2014/main" id="{1827C655-5D8F-4C22-BEA8-38DFD946CAEB}"/>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36">
                <a:extLst>
                  <a:ext uri="{FF2B5EF4-FFF2-40B4-BE49-F238E27FC236}">
                    <a16:creationId xmlns:a16="http://schemas.microsoft.com/office/drawing/2014/main" id="{DD671623-8240-4935-9691-99F48DAAD90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37">
                <a:extLst>
                  <a:ext uri="{FF2B5EF4-FFF2-40B4-BE49-F238E27FC236}">
                    <a16:creationId xmlns:a16="http://schemas.microsoft.com/office/drawing/2014/main" id="{D5C0573C-71A1-4F82-9DA1-41DB179EC3E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38">
                <a:extLst>
                  <a:ext uri="{FF2B5EF4-FFF2-40B4-BE49-F238E27FC236}">
                    <a16:creationId xmlns:a16="http://schemas.microsoft.com/office/drawing/2014/main" id="{CD62ECCC-F52D-44E4-A8D0-F9C1D916BC6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39">
                <a:extLst>
                  <a:ext uri="{FF2B5EF4-FFF2-40B4-BE49-F238E27FC236}">
                    <a16:creationId xmlns:a16="http://schemas.microsoft.com/office/drawing/2014/main" id="{EBD9550A-057D-4B02-8952-D467DD6E52A8}"/>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40">
                <a:extLst>
                  <a:ext uri="{FF2B5EF4-FFF2-40B4-BE49-F238E27FC236}">
                    <a16:creationId xmlns:a16="http://schemas.microsoft.com/office/drawing/2014/main" id="{F3B0E10C-9234-4FB3-AA99-F0B6C5A4B7FF}"/>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41">
                <a:extLst>
                  <a:ext uri="{FF2B5EF4-FFF2-40B4-BE49-F238E27FC236}">
                    <a16:creationId xmlns:a16="http://schemas.microsoft.com/office/drawing/2014/main" id="{284B6039-6763-4628-89D9-314F32F071F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42">
                <a:extLst>
                  <a:ext uri="{FF2B5EF4-FFF2-40B4-BE49-F238E27FC236}">
                    <a16:creationId xmlns:a16="http://schemas.microsoft.com/office/drawing/2014/main" id="{2F54BCCB-D6C5-4C6D-9BDE-F8706974C1F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43">
                <a:extLst>
                  <a:ext uri="{FF2B5EF4-FFF2-40B4-BE49-F238E27FC236}">
                    <a16:creationId xmlns:a16="http://schemas.microsoft.com/office/drawing/2014/main" id="{AE7CDDE9-FE5D-4B60-BC57-EB2AE1DAABA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44">
                <a:extLst>
                  <a:ext uri="{FF2B5EF4-FFF2-40B4-BE49-F238E27FC236}">
                    <a16:creationId xmlns:a16="http://schemas.microsoft.com/office/drawing/2014/main" id="{82D14449-6096-4492-A780-F7F9A58FE29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 name="Slide edges">
              <a:extLst>
                <a:ext uri="{FF2B5EF4-FFF2-40B4-BE49-F238E27FC236}">
                  <a16:creationId xmlns:a16="http://schemas.microsoft.com/office/drawing/2014/main" id="{6EBC32AC-DFB3-4845-882F-76E1FC32DAD3}"/>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57" name="Footnote measure">
              <a:extLst>
                <a:ext uri="{FF2B5EF4-FFF2-40B4-BE49-F238E27FC236}">
                  <a16:creationId xmlns:a16="http://schemas.microsoft.com/office/drawing/2014/main" id="{5D2B604F-BB22-4EAA-AB05-F4BB5E854096}"/>
                </a:ext>
              </a:extLst>
            </p:cNvPr>
            <p:cNvSpPr>
              <a:spLocks noChangeArrowheads="1"/>
            </p:cNvSpPr>
            <p:nvPr/>
          </p:nvSpPr>
          <p:spPr bwMode="auto">
            <a:xfrm>
              <a:off x="629400" y="6159600"/>
              <a:ext cx="10933200" cy="40034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Whitespace measure">
              <a:extLst>
                <a:ext uri="{FF2B5EF4-FFF2-40B4-BE49-F238E27FC236}">
                  <a16:creationId xmlns:a16="http://schemas.microsoft.com/office/drawing/2014/main" id="{250E6DFC-6262-4FD7-BD6F-ED21B811EBE4}"/>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9" name="Five column measure">
              <a:extLst>
                <a:ext uri="{FF2B5EF4-FFF2-40B4-BE49-F238E27FC236}">
                  <a16:creationId xmlns:a16="http://schemas.microsoft.com/office/drawing/2014/main" id="{CBAA50B2-1E3B-4CAC-88B4-C6D0AF6418DD}"/>
                </a:ext>
              </a:extLst>
            </p:cNvPr>
            <p:cNvGrpSpPr/>
            <p:nvPr/>
          </p:nvGrpSpPr>
          <p:grpSpPr>
            <a:xfrm>
              <a:off x="629400" y="5975122"/>
              <a:ext cx="10933200" cy="79536"/>
              <a:chOff x="629400" y="5975122"/>
              <a:chExt cx="10933200" cy="79536"/>
            </a:xfrm>
          </p:grpSpPr>
          <p:sp>
            <p:nvSpPr>
              <p:cNvPr id="62" name="Rectangle 5">
                <a:extLst>
                  <a:ext uri="{FF2B5EF4-FFF2-40B4-BE49-F238E27FC236}">
                    <a16:creationId xmlns:a16="http://schemas.microsoft.com/office/drawing/2014/main" id="{F5561ACB-2774-469A-BF64-532ABD1EFB5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7">
                <a:extLst>
                  <a:ext uri="{FF2B5EF4-FFF2-40B4-BE49-F238E27FC236}">
                    <a16:creationId xmlns:a16="http://schemas.microsoft.com/office/drawing/2014/main" id="{4E1364DC-734D-44C3-AE4A-4C6EE881CB3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9">
                <a:extLst>
                  <a:ext uri="{FF2B5EF4-FFF2-40B4-BE49-F238E27FC236}">
                    <a16:creationId xmlns:a16="http://schemas.microsoft.com/office/drawing/2014/main" id="{3C912478-9516-4734-9E6D-23A6EC05D9C2}"/>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11">
                <a:extLst>
                  <a:ext uri="{FF2B5EF4-FFF2-40B4-BE49-F238E27FC236}">
                    <a16:creationId xmlns:a16="http://schemas.microsoft.com/office/drawing/2014/main" id="{859AFFBA-ACBB-4EEB-A7AB-222442A8099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13">
                <a:extLst>
                  <a:ext uri="{FF2B5EF4-FFF2-40B4-BE49-F238E27FC236}">
                    <a16:creationId xmlns:a16="http://schemas.microsoft.com/office/drawing/2014/main" id="{A0F642C2-6B46-434A-8B9B-4C4A1D3FDA5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0" name="Live area">
              <a:extLst>
                <a:ext uri="{FF2B5EF4-FFF2-40B4-BE49-F238E27FC236}">
                  <a16:creationId xmlns:a16="http://schemas.microsoft.com/office/drawing/2014/main" id="{89499AF8-3BF3-40F4-818B-86BB6A23C8C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61" name="Footnote example">
              <a:extLst>
                <a:ext uri="{FF2B5EF4-FFF2-40B4-BE49-F238E27FC236}">
                  <a16:creationId xmlns:a16="http://schemas.microsoft.com/office/drawing/2014/main" id="{FAED1F74-C02C-4F4E-A8B2-5A95FAC57BA8}"/>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757545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49FB4B6-2AAD-42A9-8F7A-D53E4C07E08C}"/>
              </a:ext>
            </a:extLst>
          </p:cNvPr>
          <p:cNvGraphicFramePr>
            <a:graphicFrameLocks noChangeAspect="1"/>
          </p:cNvGraphicFramePr>
          <p:nvPr userDrawn="1">
            <p:custDataLst>
              <p:tags r:id="rId1"/>
            </p:custDataLst>
            <p:extLst>
              <p:ext uri="{D42A27DB-BD31-4B8C-83A1-F6EECF244321}">
                <p14:modId xmlns:p14="http://schemas.microsoft.com/office/powerpoint/2010/main" val="1956284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E49FB4B6-2AAD-42A9-8F7A-D53E4C07E0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628650" y="2668041"/>
            <a:ext cx="10934700"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59" name="Rectangle 58"/>
          <p:cNvSpPr/>
          <p:nvPr userDrawn="1"/>
        </p:nvSpPr>
        <p:spPr bwMode="white">
          <a:xfrm>
            <a:off x="628650"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0" name="Picture 9">
            <a:extLst>
              <a:ext uri="{FF2B5EF4-FFF2-40B4-BE49-F238E27FC236}">
                <a16:creationId xmlns:a16="http://schemas.microsoft.com/office/drawing/2014/main" id="{6F4B44F4-469B-4EF7-B29F-C24F871C2436}"/>
              </a:ext>
            </a:extLst>
          </p:cNvPr>
          <p:cNvPicPr>
            <a:picLocks noChangeAspect="1"/>
          </p:cNvPicPr>
          <p:nvPr userDrawn="1"/>
        </p:nvPicPr>
        <p:blipFill>
          <a:blip r:embed="rId5"/>
          <a:stretch>
            <a:fillRect/>
          </a:stretch>
        </p:blipFill>
        <p:spPr>
          <a:xfrm>
            <a:off x="45720" y="52248"/>
            <a:ext cx="651797" cy="290652"/>
          </a:xfrm>
          <a:prstGeom prst="rect">
            <a:avLst/>
          </a:prstGeom>
        </p:spPr>
      </p:pic>
    </p:spTree>
    <p:extLst>
      <p:ext uri="{BB962C8B-B14F-4D97-AF65-F5344CB8AC3E}">
        <p14:creationId xmlns:p14="http://schemas.microsoft.com/office/powerpoint/2010/main" val="715071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60777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079492" y="1115416"/>
            <a:ext cx="2549096"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rPr>
              <a:t>Agenda</a:t>
            </a:r>
          </a:p>
        </p:txBody>
      </p:sp>
      <p:pic>
        <p:nvPicPr>
          <p:cNvPr id="13" name="Picture 12">
            <a:extLst>
              <a:ext uri="{FF2B5EF4-FFF2-40B4-BE49-F238E27FC236}">
                <a16:creationId xmlns:a16="http://schemas.microsoft.com/office/drawing/2014/main" id="{D70AB0BF-67AF-44B2-B1EE-6BBFDDCE82F8}"/>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1438061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13993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11" name="Picture 10">
            <a:extLst>
              <a:ext uri="{FF2B5EF4-FFF2-40B4-BE49-F238E27FC236}">
                <a16:creationId xmlns:a16="http://schemas.microsoft.com/office/drawing/2014/main" id="{40DEC71C-85FE-46CC-B74D-BBDAD99DDD52}"/>
              </a:ext>
            </a:extLst>
          </p:cNvPr>
          <p:cNvPicPr>
            <a:picLocks noChangeAspect="1"/>
          </p:cNvPicPr>
          <p:nvPr userDrawn="1"/>
        </p:nvPicPr>
        <p:blipFill>
          <a:blip r:embed="rId5"/>
          <a:stretch>
            <a:fillRect/>
          </a:stretch>
        </p:blipFill>
        <p:spPr>
          <a:xfrm>
            <a:off x="45720" y="52248"/>
            <a:ext cx="651797" cy="290652"/>
          </a:xfrm>
          <a:prstGeom prst="rect">
            <a:avLst/>
          </a:prstGeom>
        </p:spPr>
      </p:pic>
    </p:spTree>
    <p:extLst>
      <p:ext uri="{BB962C8B-B14F-4D97-AF65-F5344CB8AC3E}">
        <p14:creationId xmlns:p14="http://schemas.microsoft.com/office/powerpoint/2010/main" val="2695009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504232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0CC51570-55DC-476E-A92B-C83AF4EA0995}"/>
              </a:ext>
            </a:extLst>
          </p:cNvPr>
          <p:cNvPicPr>
            <a:picLocks noChangeAspect="1"/>
          </p:cNvPicPr>
          <p:nvPr userDrawn="1"/>
        </p:nvPicPr>
        <p:blipFill>
          <a:blip r:embed="rId5"/>
          <a:stretch>
            <a:fillRect/>
          </a:stretch>
        </p:blipFill>
        <p:spPr>
          <a:xfrm>
            <a:off x="45720" y="52248"/>
            <a:ext cx="651797" cy="290652"/>
          </a:xfrm>
          <a:prstGeom prst="rect">
            <a:avLst/>
          </a:prstGeom>
        </p:spPr>
      </p:pic>
    </p:spTree>
    <p:extLst>
      <p:ext uri="{BB962C8B-B14F-4D97-AF65-F5344CB8AC3E}">
        <p14:creationId xmlns:p14="http://schemas.microsoft.com/office/powerpoint/2010/main" val="4266002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80002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63115"/>
            <a:ext cx="1547143"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pic>
        <p:nvPicPr>
          <p:cNvPr id="11" name="Picture 10">
            <a:extLst>
              <a:ext uri="{FF2B5EF4-FFF2-40B4-BE49-F238E27FC236}">
                <a16:creationId xmlns:a16="http://schemas.microsoft.com/office/drawing/2014/main" id="{609F4A7F-B55C-414F-AEEF-540F0A2FC7E5}"/>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2686399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75675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0DA3E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0DA3E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rgbClr val="0DA3E2"/>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079492" y="1115416"/>
            <a:ext cx="2549096"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0DA3E2"/>
                </a:solidFill>
                <a:latin typeface="+mn-lt"/>
                <a:ea typeface="+mn-ea"/>
                <a:cs typeface="+mn-cs"/>
              </a:rPr>
              <a:t>Agenda</a:t>
            </a:r>
          </a:p>
        </p:txBody>
      </p:sp>
    </p:spTree>
    <p:extLst>
      <p:ext uri="{BB962C8B-B14F-4D97-AF65-F5344CB8AC3E}">
        <p14:creationId xmlns:p14="http://schemas.microsoft.com/office/powerpoint/2010/main" val="3444685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15020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0DA3E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DA3E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49984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245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DA3E2"/>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0DA3E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7606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225084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pic>
        <p:nvPicPr>
          <p:cNvPr id="11" name="Picture 10">
            <a:extLst>
              <a:ext uri="{FF2B5EF4-FFF2-40B4-BE49-F238E27FC236}">
                <a16:creationId xmlns:a16="http://schemas.microsoft.com/office/drawing/2014/main" id="{E4140D76-8414-4E3C-A4A0-5A2CB3F25DB1}"/>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2234791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415486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DA3E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49AAA3A9-153C-463E-A16F-7E08C1F8BB13}"/>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2101399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11/26/2025</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40341134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E1922E3-F76C-4E26-9FE0-CE5CC891102A}"/>
              </a:ext>
            </a:extLst>
          </p:cNvPr>
          <p:cNvGraphicFramePr>
            <a:graphicFrameLocks noChangeAspect="1"/>
          </p:cNvGraphicFramePr>
          <p:nvPr userDrawn="1">
            <p:custDataLst>
              <p:tags r:id="rId1"/>
            </p:custDataLst>
            <p:extLst>
              <p:ext uri="{D42A27DB-BD31-4B8C-83A1-F6EECF244321}">
                <p14:modId xmlns:p14="http://schemas.microsoft.com/office/powerpoint/2010/main" val="2417227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E1922E3-F76C-4E26-9FE0-CE5CC89110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B904F2DA-6B2A-4AE5-8D09-10DBE410B482}"/>
              </a:ext>
            </a:extLst>
          </p:cNvPr>
          <p:cNvPicPr>
            <a:picLocks noChangeAspect="1"/>
          </p:cNvPicPr>
          <p:nvPr userDrawn="1"/>
        </p:nvPicPr>
        <p:blipFill>
          <a:blip r:embed="rId5"/>
          <a:stretch>
            <a:fillRect/>
          </a:stretch>
        </p:blipFill>
        <p:spPr>
          <a:xfrm>
            <a:off x="45720" y="52248"/>
            <a:ext cx="651797" cy="290652"/>
          </a:xfrm>
          <a:prstGeom prst="rect">
            <a:avLst/>
          </a:prstGeom>
        </p:spPr>
      </p:pic>
    </p:spTree>
    <p:extLst>
      <p:ext uri="{BB962C8B-B14F-4D97-AF65-F5344CB8AC3E}">
        <p14:creationId xmlns:p14="http://schemas.microsoft.com/office/powerpoint/2010/main" val="1717023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31622A-244B-49D8-ADFA-8D75B2F06F02}"/>
              </a:ext>
            </a:extLst>
          </p:cNvPr>
          <p:cNvGraphicFramePr>
            <a:graphicFrameLocks noChangeAspect="1"/>
          </p:cNvGraphicFramePr>
          <p:nvPr userDrawn="1">
            <p:custDataLst>
              <p:tags r:id="rId1"/>
            </p:custDataLst>
            <p:extLst>
              <p:ext uri="{D42A27DB-BD31-4B8C-83A1-F6EECF244321}">
                <p14:modId xmlns:p14="http://schemas.microsoft.com/office/powerpoint/2010/main" val="64831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9B31622A-244B-49D8-ADFA-8D75B2F06F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DA3E2"/>
                </a:solidFill>
                <a:latin typeface="+mj-lt"/>
                <a:ea typeface="+mj-ea"/>
                <a:cs typeface="+mj-cs"/>
                <a:sym typeface="Trebuchet MS" panose="020B0603020202020204" pitchFamily="34" charset="0"/>
              </a:defRPr>
            </a:lvl1pPr>
          </a:lstStyle>
          <a:p>
            <a:r>
              <a:rPr lang="en-US"/>
              <a:t>Click to add title</a:t>
            </a:r>
          </a:p>
        </p:txBody>
      </p:sp>
      <p:pic>
        <p:nvPicPr>
          <p:cNvPr id="11" name="Picture 10">
            <a:extLst>
              <a:ext uri="{FF2B5EF4-FFF2-40B4-BE49-F238E27FC236}">
                <a16:creationId xmlns:a16="http://schemas.microsoft.com/office/drawing/2014/main" id="{1639379B-E1D2-446A-8011-13EF802179A7}"/>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4167785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97A56"/>
            </a:gs>
            <a:gs pos="100000">
              <a:srgbClr val="0DA3E2"/>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40CC46A-F001-48DB-9780-FCDC00ACA71F}"/>
              </a:ext>
            </a:extLst>
          </p:cNvPr>
          <p:cNvGraphicFramePr>
            <a:graphicFrameLocks noChangeAspect="1"/>
          </p:cNvGraphicFramePr>
          <p:nvPr userDrawn="1">
            <p:custDataLst>
              <p:tags r:id="rId1"/>
            </p:custDataLst>
            <p:extLst>
              <p:ext uri="{D42A27DB-BD31-4B8C-83A1-F6EECF244321}">
                <p14:modId xmlns:p14="http://schemas.microsoft.com/office/powerpoint/2010/main" val="602042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40CC46A-F001-48DB-9780-FCDC00ACA7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5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1" i="0" u="none" kern="1200" spc="0">
                <a:solidFill>
                  <a:srgbClr val="0DA3E2"/>
                </a:solidFill>
                <a:latin typeface="+mj-lt"/>
                <a:ea typeface="+mj-ea"/>
                <a:cs typeface="+mj-cs"/>
                <a:sym typeface="Trebuchet MS" panose="020B0603020202020204" pitchFamily="34" charset="0"/>
              </a:defRPr>
            </a:lvl1pPr>
          </a:lstStyle>
          <a:p>
            <a:pPr lvl="0"/>
            <a:r>
              <a:rPr lang="en-US"/>
              <a:t>Click to add title</a:t>
            </a:r>
          </a:p>
        </p:txBody>
      </p:sp>
      <p:pic>
        <p:nvPicPr>
          <p:cNvPr id="12" name="Picture 11">
            <a:extLst>
              <a:ext uri="{FF2B5EF4-FFF2-40B4-BE49-F238E27FC236}">
                <a16:creationId xmlns:a16="http://schemas.microsoft.com/office/drawing/2014/main" id="{693C56FC-915F-4213-9946-90748C0CABE2}"/>
              </a:ext>
            </a:extLst>
          </p:cNvPr>
          <p:cNvPicPr>
            <a:picLocks noChangeAspect="1"/>
          </p:cNvPicPr>
          <p:nvPr userDrawn="1"/>
        </p:nvPicPr>
        <p:blipFill>
          <a:blip r:embed="rId6"/>
          <a:stretch>
            <a:fillRect/>
          </a:stretch>
        </p:blipFill>
        <p:spPr>
          <a:xfrm>
            <a:off x="45720" y="52248"/>
            <a:ext cx="651797" cy="290652"/>
          </a:xfrm>
          <a:prstGeom prst="rect">
            <a:avLst/>
          </a:prstGeom>
        </p:spPr>
      </p:pic>
    </p:spTree>
    <p:extLst>
      <p:ext uri="{BB962C8B-B14F-4D97-AF65-F5344CB8AC3E}">
        <p14:creationId xmlns:p14="http://schemas.microsoft.com/office/powerpoint/2010/main" val="3547887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2.jpe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265561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b">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7" name="Picture 6">
            <a:extLst>
              <a:ext uri="{FF2B5EF4-FFF2-40B4-BE49-F238E27FC236}">
                <a16:creationId xmlns:a16="http://schemas.microsoft.com/office/drawing/2014/main" id="{D33E0134-A59A-42BF-A751-FF12E4BAA892}"/>
              </a:ext>
            </a:extLst>
          </p:cNvPr>
          <p:cNvPicPr>
            <a:picLocks noChangeAspect="1"/>
          </p:cNvPicPr>
          <p:nvPr userDrawn="1"/>
        </p:nvPicPr>
        <p:blipFill>
          <a:blip r:embed="rId74"/>
          <a:stretch>
            <a:fillRect/>
          </a:stretch>
        </p:blipFill>
        <p:spPr>
          <a:xfrm>
            <a:off x="45720" y="52248"/>
            <a:ext cx="651797" cy="290652"/>
          </a:xfrm>
          <a:prstGeom prst="rect">
            <a:avLst/>
          </a:prstGeom>
        </p:spPr>
      </p:pic>
    </p:spTree>
    <p:extLst>
      <p:ext uri="{BB962C8B-B14F-4D97-AF65-F5344CB8AC3E}">
        <p14:creationId xmlns:p14="http://schemas.microsoft.com/office/powerpoint/2010/main" val="59828299"/>
      </p:ext>
    </p:extLst>
  </p:cSld>
  <p:clrMap bg1="lt1" tx1="dk1" bg2="lt2" tx2="dk2" accent1="accent1" accent2="accent2" accent3="accent3" accent4="accent4" accent5="accent5" accent6="accent6" hlink="hlink" folHlink="folHlink"/>
  <p:sldLayoutIdLst>
    <p:sldLayoutId id="2147485256" r:id="rId1"/>
    <p:sldLayoutId id="2147485257" r:id="rId2"/>
    <p:sldLayoutId id="2147485258" r:id="rId3"/>
    <p:sldLayoutId id="2147485259" r:id="rId4"/>
    <p:sldLayoutId id="2147485260" r:id="rId5"/>
    <p:sldLayoutId id="2147485261" r:id="rId6"/>
    <p:sldLayoutId id="2147485262" r:id="rId7"/>
    <p:sldLayoutId id="2147485263" r:id="rId8"/>
    <p:sldLayoutId id="2147485264" r:id="rId9"/>
    <p:sldLayoutId id="2147485265" r:id="rId10"/>
    <p:sldLayoutId id="2147485266" r:id="rId11"/>
    <p:sldLayoutId id="2147485267" r:id="rId12"/>
    <p:sldLayoutId id="2147485268" r:id="rId13"/>
    <p:sldLayoutId id="2147485269" r:id="rId14"/>
    <p:sldLayoutId id="2147485270" r:id="rId15"/>
    <p:sldLayoutId id="2147485271" r:id="rId16"/>
    <p:sldLayoutId id="2147485272" r:id="rId17"/>
    <p:sldLayoutId id="2147485273" r:id="rId18"/>
    <p:sldLayoutId id="2147485274" r:id="rId19"/>
    <p:sldLayoutId id="2147485275" r:id="rId20"/>
    <p:sldLayoutId id="2147485276" r:id="rId21"/>
    <p:sldLayoutId id="2147485277" r:id="rId22"/>
    <p:sldLayoutId id="2147485278" r:id="rId23"/>
    <p:sldLayoutId id="2147485279" r:id="rId24"/>
    <p:sldLayoutId id="2147485280" r:id="rId25"/>
    <p:sldLayoutId id="2147485281" r:id="rId26"/>
    <p:sldLayoutId id="2147485282" r:id="rId27"/>
    <p:sldLayoutId id="2147485283" r:id="rId28"/>
    <p:sldLayoutId id="2147485284" r:id="rId29"/>
    <p:sldLayoutId id="2147485285" r:id="rId30"/>
    <p:sldLayoutId id="2147485286" r:id="rId31"/>
    <p:sldLayoutId id="2147485287" r:id="rId32"/>
    <p:sldLayoutId id="2147485288" r:id="rId33"/>
    <p:sldLayoutId id="2147485289" r:id="rId34"/>
    <p:sldLayoutId id="2147485290" r:id="rId35"/>
    <p:sldLayoutId id="2147485291" r:id="rId36"/>
    <p:sldLayoutId id="2147485292" r:id="rId37"/>
    <p:sldLayoutId id="2147485293" r:id="rId38"/>
    <p:sldLayoutId id="2147485294" r:id="rId39"/>
    <p:sldLayoutId id="2147485295" r:id="rId40"/>
    <p:sldLayoutId id="2147485296" r:id="rId41"/>
    <p:sldLayoutId id="2147485297" r:id="rId42"/>
    <p:sldLayoutId id="2147485298" r:id="rId43"/>
    <p:sldLayoutId id="2147485299" r:id="rId44"/>
    <p:sldLayoutId id="2147485300" r:id="rId45"/>
    <p:sldLayoutId id="2147485301" r:id="rId46"/>
    <p:sldLayoutId id="2147485302" r:id="rId47"/>
    <p:sldLayoutId id="2147485303" r:id="rId48"/>
    <p:sldLayoutId id="2147485304" r:id="rId49"/>
    <p:sldLayoutId id="2147485305" r:id="rId50"/>
    <p:sldLayoutId id="2147485306" r:id="rId51"/>
    <p:sldLayoutId id="2147485307" r:id="rId52"/>
    <p:sldLayoutId id="2147485308" r:id="rId53"/>
    <p:sldLayoutId id="2147485309" r:id="rId54"/>
    <p:sldLayoutId id="2147485310" r:id="rId55"/>
    <p:sldLayoutId id="2147485311" r:id="rId56"/>
    <p:sldLayoutId id="2147485312" r:id="rId57"/>
    <p:sldLayoutId id="2147485313" r:id="rId58"/>
    <p:sldLayoutId id="2147485314" r:id="rId59"/>
    <p:sldLayoutId id="2147485315" r:id="rId60"/>
    <p:sldLayoutId id="2147485316" r:id="rId61"/>
    <p:sldLayoutId id="2147485317" r:id="rId62"/>
    <p:sldLayoutId id="2147485318" r:id="rId63"/>
    <p:sldLayoutId id="2147485319" r:id="rId64"/>
    <p:sldLayoutId id="2147485320" r:id="rId65"/>
    <p:sldLayoutId id="2147485321" r:id="rId66"/>
    <p:sldLayoutId id="2147485322" r:id="rId67"/>
    <p:sldLayoutId id="2147485323" r:id="rId68"/>
    <p:sldLayoutId id="2147485324"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rgbClr val="0DA3E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0DA3E2"/>
        </a:buClr>
        <a:buFont typeface="Arial" panose="020B0604020202020204" pitchFamily="34" charset="0"/>
        <a:buChar char="​"/>
        <a:defRPr lang="en-US" sz="1200" kern="1200">
          <a:solidFill>
            <a:srgbClr val="333333"/>
          </a:solidFill>
          <a:latin typeface="+mn-lt"/>
          <a:ea typeface="+mn-ea"/>
          <a:cs typeface="+mn-cs"/>
          <a:sym typeface="Trebuchet MS" panose="020B0603020202020204" pitchFamily="34" charset="0"/>
        </a:defRPr>
      </a:lvl1pPr>
      <a:lvl2pPr marL="320040" indent="-219456" algn="l" defTabSz="914400" rtl="0" eaLnBrk="1" latinLnBrk="0" hangingPunct="1">
        <a:lnSpc>
          <a:spcPct val="90000"/>
        </a:lnSpc>
        <a:spcBef>
          <a:spcPts val="0"/>
        </a:spcBef>
        <a:spcAft>
          <a:spcPts val="300"/>
        </a:spcAft>
        <a:buClr>
          <a:srgbClr val="0DA3E2"/>
        </a:buClr>
        <a:buFont typeface="Arial" panose="020B0604020202020204" pitchFamily="34" charset="0"/>
        <a:buChar char="•"/>
        <a:defRPr lang="en-US" sz="1200" kern="1200">
          <a:solidFill>
            <a:srgbClr val="333333"/>
          </a:solidFill>
          <a:latin typeface="+mn-lt"/>
          <a:ea typeface="+mn-ea"/>
          <a:cs typeface="+mn-cs"/>
          <a:sym typeface="Trebuchet MS" panose="020B0603020202020204" pitchFamily="34" charset="0"/>
        </a:defRPr>
      </a:lvl2pPr>
      <a:lvl3pPr marL="649224" indent="-219456" algn="l" defTabSz="914400" rtl="0" eaLnBrk="1" latinLnBrk="0" hangingPunct="1">
        <a:lnSpc>
          <a:spcPct val="90000"/>
        </a:lnSpc>
        <a:spcBef>
          <a:spcPts val="0"/>
        </a:spcBef>
        <a:spcAft>
          <a:spcPts val="300"/>
        </a:spcAft>
        <a:buClr>
          <a:srgbClr val="0DA3E2"/>
        </a:buClr>
        <a:buFont typeface="Trebuchet MS" panose="020B0603020202020204" pitchFamily="34" charset="0"/>
        <a:buChar char="–"/>
        <a:defRPr lang="en-US" sz="1200" kern="1200">
          <a:solidFill>
            <a:srgbClr val="333333"/>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DA3E2"/>
        </a:buClr>
        <a:buFont typeface="Arial" panose="020B0604020202020204" pitchFamily="34" charset="0"/>
        <a:buChar char="​"/>
        <a:defRPr lang="en-US" sz="1600" b="1" kern="1200">
          <a:solidFill>
            <a:srgbClr val="0DA3E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DA3E2"/>
        </a:buClr>
        <a:buFont typeface="Arial" panose="020B0604020202020204" pitchFamily="34" charset="0"/>
        <a:buChar char="​"/>
        <a:defRPr lang="en-US" sz="1600" b="1" kern="1200" smtClean="0">
          <a:solidFill>
            <a:srgbClr val="333333"/>
          </a:solidFill>
          <a:latin typeface="+mn-lt"/>
          <a:ea typeface="+mn-ea"/>
          <a:cs typeface="+mn-cs"/>
          <a:sym typeface="Trebuchet MS" panose="020B0603020202020204" pitchFamily="34" charset="0"/>
        </a:defRPr>
      </a:lvl5pPr>
      <a:lvl6pPr marL="320040" indent="-219456" algn="l" defTabSz="914400" rtl="0" eaLnBrk="1" latinLnBrk="0" hangingPunct="1">
        <a:lnSpc>
          <a:spcPct val="90000"/>
        </a:lnSpc>
        <a:spcBef>
          <a:spcPts val="0"/>
        </a:spcBef>
        <a:spcAft>
          <a:spcPts val="600"/>
        </a:spcAft>
        <a:buClr>
          <a:srgbClr val="0DA3E2"/>
        </a:buClr>
        <a:buFont typeface="Arial" panose="020B0604020202020204" pitchFamily="34" charset="0"/>
        <a:buChar char="•"/>
        <a:defRPr lang="en-US" sz="1600" kern="1200" smtClean="0">
          <a:solidFill>
            <a:srgbClr val="333333"/>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DA3E2"/>
        </a:buClr>
        <a:buFont typeface="Arial" panose="020B0604020202020204" pitchFamily="34" charset="0"/>
        <a:buChar char="​"/>
        <a:defRPr lang="en-US" sz="4400" kern="1200" baseline="0" smtClean="0">
          <a:solidFill>
            <a:srgbClr val="333333"/>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DA3E2"/>
        </a:buClr>
        <a:buFont typeface="Arial" panose="020B0604020202020204" pitchFamily="34" charset="0"/>
        <a:buChar char="​"/>
        <a:defRPr lang="en-US" sz="5400" b="1" kern="1200" baseline="0" smtClean="0">
          <a:solidFill>
            <a:srgbClr val="0DA3E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DA3E2"/>
        </a:buClr>
        <a:buFont typeface="Arial" panose="020B0604020202020204" pitchFamily="34" charset="0"/>
        <a:buChar char="​"/>
        <a:defRPr lang="en-US" sz="2400" b="1" kern="1200" baseline="0" dirty="0">
          <a:solidFill>
            <a:srgbClr val="0DA3E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75.x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image" Target="../media/image14.jpeg"/><Relationship Id="rId18" Type="http://schemas.openxmlformats.org/officeDocument/2006/relationships/image" Target="../media/image18.emf"/><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6.emf"/><Relationship Id="rId17" Type="http://schemas.openxmlformats.org/officeDocument/2006/relationships/oleObject" Target="../embeddings/oleObject14.bin"/><Relationship Id="rId2" Type="http://schemas.openxmlformats.org/officeDocument/2006/relationships/tags" Target="../tags/tag77.xml"/><Relationship Id="rId16" Type="http://schemas.openxmlformats.org/officeDocument/2006/relationships/image" Target="../media/image17.png"/><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oleObject" Target="../embeddings/oleObject13.bin"/><Relationship Id="rId5" Type="http://schemas.openxmlformats.org/officeDocument/2006/relationships/tags" Target="../tags/tag80.xml"/><Relationship Id="rId15" Type="http://schemas.openxmlformats.org/officeDocument/2006/relationships/image" Target="../media/image16.png"/><Relationship Id="rId10" Type="http://schemas.openxmlformats.org/officeDocument/2006/relationships/notesSlide" Target="../notesSlides/notesSlide2.xml"/><Relationship Id="rId4" Type="http://schemas.openxmlformats.org/officeDocument/2006/relationships/tags" Target="../tags/tag79.xml"/><Relationship Id="rId9" Type="http://schemas.openxmlformats.org/officeDocument/2006/relationships/slideLayout" Target="../slideLayouts/slideLayout31.xml"/><Relationship Id="rId14" Type="http://schemas.openxmlformats.org/officeDocument/2006/relationships/image" Target="../media/image15.jpeg"/></Relationships>
</file>

<file path=ppt/slides/_rels/slide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86.xml"/><Relationship Id="rId7" Type="http://schemas.openxmlformats.org/officeDocument/2006/relationships/image" Target="../media/image20.jpe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9.emf"/><Relationship Id="rId5" Type="http://schemas.openxmlformats.org/officeDocument/2006/relationships/oleObject" Target="../embeddings/oleObject15.bin"/><Relationship Id="rId4" Type="http://schemas.openxmlformats.org/officeDocument/2006/relationships/slideLayout" Target="../slideLayouts/slideLayout31.xml"/><Relationship Id="rId9" Type="http://schemas.microsoft.com/office/2007/relationships/hdphoto" Target="../media/hdphoto2.wdp"/></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3.xml"/><Relationship Id="rId7" Type="http://schemas.openxmlformats.org/officeDocument/2006/relationships/image" Target="../media/image24.png"/><Relationship Id="rId2" Type="http://schemas.openxmlformats.org/officeDocument/2006/relationships/slideLayout" Target="../slideLayouts/slideLayout25.xml"/><Relationship Id="rId1" Type="http://schemas.openxmlformats.org/officeDocument/2006/relationships/tags" Target="../tags/tag87.xml"/><Relationship Id="rId6" Type="http://schemas.openxmlformats.org/officeDocument/2006/relationships/image" Target="../media/image23.jpeg"/><Relationship Id="rId5" Type="http://schemas.openxmlformats.org/officeDocument/2006/relationships/image" Target="../media/image22.emf"/><Relationship Id="rId4" Type="http://schemas.openxmlformats.org/officeDocument/2006/relationships/oleObject" Target="../embeddings/oleObject16.bin"/><Relationship Id="rId9" Type="http://schemas.openxmlformats.org/officeDocument/2006/relationships/image" Target="../media/image2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E11338-8CF8-4B2B-8D68-0860A51193EF}"/>
              </a:ext>
            </a:extLst>
          </p:cNvPr>
          <p:cNvGraphicFramePr>
            <a:graphicFrameLocks noChangeAspect="1"/>
          </p:cNvGraphicFramePr>
          <p:nvPr>
            <p:custDataLst>
              <p:tags r:id="rId1"/>
            </p:custDataLst>
            <p:extLst>
              <p:ext uri="{D42A27DB-BD31-4B8C-83A1-F6EECF244321}">
                <p14:modId xmlns:p14="http://schemas.microsoft.com/office/powerpoint/2010/main" val="421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B1E11338-8CF8-4B2B-8D68-0860A51193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ubtitle 7">
            <a:extLst>
              <a:ext uri="{FF2B5EF4-FFF2-40B4-BE49-F238E27FC236}">
                <a16:creationId xmlns:a16="http://schemas.microsoft.com/office/drawing/2014/main" id="{B67AC88E-DA1E-4F5E-8E28-F61E51413327}"/>
              </a:ext>
            </a:extLst>
          </p:cNvPr>
          <p:cNvSpPr>
            <a:spLocks noGrp="1"/>
          </p:cNvSpPr>
          <p:nvPr>
            <p:ph type="subTitle" idx="1"/>
          </p:nvPr>
        </p:nvSpPr>
        <p:spPr/>
        <p:txBody>
          <a:bodyPr/>
          <a:lstStyle/>
          <a:p>
            <a:r>
              <a:rPr lang="en-US"/>
              <a:t>Reliable Dedicated &amp; High-Speed Internet</a:t>
            </a:r>
          </a:p>
        </p:txBody>
      </p:sp>
      <p:sp>
        <p:nvSpPr>
          <p:cNvPr id="7" name="Title 6">
            <a:extLst>
              <a:ext uri="{FF2B5EF4-FFF2-40B4-BE49-F238E27FC236}">
                <a16:creationId xmlns:a16="http://schemas.microsoft.com/office/drawing/2014/main" id="{D5FC4484-8125-4791-AE00-1BE5E2793F74}"/>
              </a:ext>
            </a:extLst>
          </p:cNvPr>
          <p:cNvSpPr>
            <a:spLocks noGrp="1"/>
          </p:cNvSpPr>
          <p:nvPr>
            <p:ph type="ctrTitle"/>
          </p:nvPr>
        </p:nvSpPr>
        <p:spPr>
          <a:xfrm>
            <a:off x="628649" y="2279650"/>
            <a:ext cx="7415599" cy="1049546"/>
          </a:xfrm>
        </p:spPr>
        <p:txBody>
          <a:bodyPr vert="horz"/>
          <a:lstStyle/>
          <a:p>
            <a:r>
              <a:rPr lang="en-US" dirty="0"/>
              <a:t>BSNL for Enterprise</a:t>
            </a:r>
          </a:p>
        </p:txBody>
      </p:sp>
    </p:spTree>
    <p:extLst>
      <p:ext uri="{BB962C8B-B14F-4D97-AF65-F5344CB8AC3E}">
        <p14:creationId xmlns:p14="http://schemas.microsoft.com/office/powerpoint/2010/main" val="4231031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9E7535-0CC8-48AE-B46A-6657E38409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86" imgH="286" progId="TCLayout.ActiveDocument.1">
                  <p:embed/>
                </p:oleObj>
              </mc:Choice>
              <mc:Fallback>
                <p:oleObj name="think-cell Slide" r:id="rId11" imgW="286" imgH="286" progId="TCLayout.ActiveDocument.1">
                  <p:embed/>
                  <p:pic>
                    <p:nvPicPr>
                      <p:cNvPr id="3" name="think-cell data - do not delete" hidden="1">
                        <a:extLst>
                          <a:ext uri="{FF2B5EF4-FFF2-40B4-BE49-F238E27FC236}">
                            <a16:creationId xmlns:a16="http://schemas.microsoft.com/office/drawing/2014/main" id="{3E9E7535-0CC8-48AE-B46A-6657E38409E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5" name="Rectangle 24" hidden="1">
            <a:extLst>
              <a:ext uri="{FF2B5EF4-FFF2-40B4-BE49-F238E27FC236}">
                <a16:creationId xmlns:a16="http://schemas.microsoft.com/office/drawing/2014/main" id="{61F68831-2ED2-4C55-B2A7-6AF89D8B4B79}"/>
              </a:ext>
            </a:extLst>
          </p:cNvPr>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a:solidFill>
                <a:srgbClr val="FFFFFF"/>
              </a:solidFill>
              <a:latin typeface="Trebuchet MS" panose="020B0603020202020204" pitchFamily="34" charset="0"/>
              <a:sym typeface="Trebuchet MS" panose="020B0603020202020204" pitchFamily="34" charset="0"/>
            </a:endParaRPr>
          </a:p>
        </p:txBody>
      </p:sp>
      <p:sp>
        <p:nvSpPr>
          <p:cNvPr id="32" name="Rectangle 31" hidden="1">
            <a:extLst>
              <a:ext uri="{FF2B5EF4-FFF2-40B4-BE49-F238E27FC236}">
                <a16:creationId xmlns:a16="http://schemas.microsoft.com/office/drawing/2014/main" id="{5E376F42-647E-4676-8345-4E6A510D09B3}"/>
              </a:ext>
            </a:extLst>
          </p:cNvPr>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a:solidFill>
                <a:srgbClr val="FFFFFF"/>
              </a:solidFill>
              <a:latin typeface="Trebuchet MS" panose="020B0603020202020204" pitchFamily="34" charset="0"/>
              <a:sym typeface="Trebuchet MS" panose="020B0603020202020204" pitchFamily="34" charset="0"/>
            </a:endParaRPr>
          </a:p>
        </p:txBody>
      </p:sp>
      <p:sp>
        <p:nvSpPr>
          <p:cNvPr id="2" name="Title 1">
            <a:extLst>
              <a:ext uri="{FF2B5EF4-FFF2-40B4-BE49-F238E27FC236}">
                <a16:creationId xmlns:a16="http://schemas.microsoft.com/office/drawing/2014/main" id="{85888324-84D0-76AC-5891-7A50038054A6}"/>
              </a:ext>
            </a:extLst>
          </p:cNvPr>
          <p:cNvSpPr>
            <a:spLocks noGrp="1"/>
          </p:cNvSpPr>
          <p:nvPr>
            <p:ph type="title"/>
          </p:nvPr>
        </p:nvSpPr>
        <p:spPr>
          <a:xfrm>
            <a:off x="630000" y="622800"/>
            <a:ext cx="10933350" cy="332399"/>
          </a:xfrm>
        </p:spPr>
        <p:txBody>
          <a:bodyPr vert="horz"/>
          <a:lstStyle/>
          <a:p>
            <a:r>
              <a:rPr lang="en-US"/>
              <a:t>BSNL – Empowering digital connectivity across India</a:t>
            </a:r>
          </a:p>
        </p:txBody>
      </p:sp>
      <p:sp>
        <p:nvSpPr>
          <p:cNvPr id="61" name="Freeform: Shape 60">
            <a:extLst>
              <a:ext uri="{FF2B5EF4-FFF2-40B4-BE49-F238E27FC236}">
                <a16:creationId xmlns:a16="http://schemas.microsoft.com/office/drawing/2014/main" id="{03F532E5-B888-728F-7B11-EF44B4BABD36}"/>
              </a:ext>
            </a:extLst>
          </p:cNvPr>
          <p:cNvSpPr/>
          <p:nvPr/>
        </p:nvSpPr>
        <p:spPr>
          <a:xfrm>
            <a:off x="0" y="4452828"/>
            <a:ext cx="12192000" cy="2405172"/>
          </a:xfrm>
          <a:custGeom>
            <a:avLst/>
            <a:gdLst>
              <a:gd name="connsiteX0" fmla="*/ 4560232 w 12192000"/>
              <a:gd name="connsiteY0" fmla="*/ 0 h 2642447"/>
              <a:gd name="connsiteX1" fmla="*/ 7746069 w 12192000"/>
              <a:gd name="connsiteY1" fmla="*/ 0 h 2642447"/>
              <a:gd name="connsiteX2" fmla="*/ 7843917 w 12192000"/>
              <a:gd name="connsiteY2" fmla="*/ 391394 h 2642447"/>
              <a:gd name="connsiteX3" fmla="*/ 12192000 w 12192000"/>
              <a:gd name="connsiteY3" fmla="*/ 391394 h 2642447"/>
              <a:gd name="connsiteX4" fmla="*/ 12192000 w 12192000"/>
              <a:gd name="connsiteY4" fmla="*/ 2642447 h 2642447"/>
              <a:gd name="connsiteX5" fmla="*/ 0 w 12192000"/>
              <a:gd name="connsiteY5" fmla="*/ 2642447 h 2642447"/>
              <a:gd name="connsiteX6" fmla="*/ 0 w 12192000"/>
              <a:gd name="connsiteY6" fmla="*/ 391394 h 2642447"/>
              <a:gd name="connsiteX7" fmla="*/ 4462383 w 12192000"/>
              <a:gd name="connsiteY7" fmla="*/ 391394 h 264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642447">
                <a:moveTo>
                  <a:pt x="4560232" y="0"/>
                </a:moveTo>
                <a:lnTo>
                  <a:pt x="7746069" y="0"/>
                </a:lnTo>
                <a:lnTo>
                  <a:pt x="7843917" y="391394"/>
                </a:lnTo>
                <a:lnTo>
                  <a:pt x="12192000" y="391394"/>
                </a:lnTo>
                <a:lnTo>
                  <a:pt x="12192000" y="2642447"/>
                </a:lnTo>
                <a:lnTo>
                  <a:pt x="0" y="2642447"/>
                </a:lnTo>
                <a:lnTo>
                  <a:pt x="0" y="391394"/>
                </a:lnTo>
                <a:lnTo>
                  <a:pt x="4462383" y="391394"/>
                </a:lnTo>
                <a:close/>
              </a:path>
            </a:pathLst>
          </a:custGeom>
          <a:gradFill>
            <a:gsLst>
              <a:gs pos="0">
                <a:schemeClr val="accent1"/>
              </a:gs>
              <a:gs pos="100000">
                <a:schemeClr val="tx2"/>
              </a:gs>
            </a:gsLst>
            <a:lin ang="54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algn="ctr"/>
            <a:r>
              <a:rPr lang="en-US" b="1">
                <a:solidFill>
                  <a:srgbClr val="FFFFFF"/>
                </a:solidFill>
              </a:rPr>
              <a:t>Our Footprint</a:t>
            </a:r>
          </a:p>
        </p:txBody>
      </p:sp>
      <p:sp>
        <p:nvSpPr>
          <p:cNvPr id="17" name="TextBox 16">
            <a:extLst>
              <a:ext uri="{FF2B5EF4-FFF2-40B4-BE49-F238E27FC236}">
                <a16:creationId xmlns:a16="http://schemas.microsoft.com/office/drawing/2014/main" id="{CDA71558-F855-20D2-73A0-206010333773}"/>
              </a:ext>
            </a:extLst>
          </p:cNvPr>
          <p:cNvSpPr txBox="1"/>
          <p:nvPr/>
        </p:nvSpPr>
        <p:spPr>
          <a:xfrm>
            <a:off x="9522985" y="5792560"/>
            <a:ext cx="2040366"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bg1"/>
                </a:solidFill>
              </a:rPr>
              <a:t>100G equipped next generation MPLS Nodes Across 270+ Cities</a:t>
            </a:r>
          </a:p>
        </p:txBody>
      </p:sp>
      <p:cxnSp>
        <p:nvCxnSpPr>
          <p:cNvPr id="35" name="Straight Connector 34">
            <a:extLst>
              <a:ext uri="{FF2B5EF4-FFF2-40B4-BE49-F238E27FC236}">
                <a16:creationId xmlns:a16="http://schemas.microsoft.com/office/drawing/2014/main" id="{920B3283-954D-8A29-C920-B96597FD5C05}"/>
              </a:ext>
            </a:extLst>
          </p:cNvPr>
          <p:cNvCxnSpPr/>
          <p:nvPr/>
        </p:nvCxnSpPr>
        <p:spPr>
          <a:xfrm>
            <a:off x="2816165" y="5251860"/>
            <a:ext cx="0" cy="1187031"/>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5EDCA29-B02F-154A-4F90-125C8E76BA44}"/>
              </a:ext>
            </a:extLst>
          </p:cNvPr>
          <p:cNvCxnSpPr/>
          <p:nvPr/>
        </p:nvCxnSpPr>
        <p:spPr>
          <a:xfrm>
            <a:off x="5013417" y="5251860"/>
            <a:ext cx="0" cy="1187031"/>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5613242-5D27-8C4C-485B-5012A67A172F}"/>
              </a:ext>
            </a:extLst>
          </p:cNvPr>
          <p:cNvCxnSpPr/>
          <p:nvPr/>
        </p:nvCxnSpPr>
        <p:spPr>
          <a:xfrm>
            <a:off x="7210670" y="5251860"/>
            <a:ext cx="0" cy="1187031"/>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7DCB1BD-7243-96AD-60E9-7DD16493F573}"/>
              </a:ext>
            </a:extLst>
          </p:cNvPr>
          <p:cNvCxnSpPr/>
          <p:nvPr/>
        </p:nvCxnSpPr>
        <p:spPr>
          <a:xfrm>
            <a:off x="9407923" y="5251860"/>
            <a:ext cx="0" cy="1187031"/>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4740FB24-ADDF-260B-BB14-8857076160AE}"/>
              </a:ext>
            </a:extLst>
          </p:cNvPr>
          <p:cNvSpPr/>
          <p:nvPr/>
        </p:nvSpPr>
        <p:spPr>
          <a:xfrm>
            <a:off x="10199247" y="5016134"/>
            <a:ext cx="614600" cy="614600"/>
          </a:xfrm>
          <a:prstGeom prst="ellipse">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7" name="Oval 6">
            <a:extLst>
              <a:ext uri="{FF2B5EF4-FFF2-40B4-BE49-F238E27FC236}">
                <a16:creationId xmlns:a16="http://schemas.microsoft.com/office/drawing/2014/main" id="{A6E3EFE0-5FBC-D9C8-0127-51E0C785B5F8}"/>
              </a:ext>
            </a:extLst>
          </p:cNvPr>
          <p:cNvSpPr/>
          <p:nvPr/>
        </p:nvSpPr>
        <p:spPr>
          <a:xfrm>
            <a:off x="8001995" y="5016134"/>
            <a:ext cx="614600" cy="614600"/>
          </a:xfrm>
          <a:prstGeom prst="ellipse">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Oval 11">
            <a:extLst>
              <a:ext uri="{FF2B5EF4-FFF2-40B4-BE49-F238E27FC236}">
                <a16:creationId xmlns:a16="http://schemas.microsoft.com/office/drawing/2014/main" id="{1E3B501E-863F-A50E-20DB-24AD8B31066E}"/>
              </a:ext>
            </a:extLst>
          </p:cNvPr>
          <p:cNvSpPr/>
          <p:nvPr/>
        </p:nvSpPr>
        <p:spPr>
          <a:xfrm>
            <a:off x="1410239" y="5016134"/>
            <a:ext cx="614600" cy="614600"/>
          </a:xfrm>
          <a:prstGeom prst="ellipse">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1" name="AutoShape 116">
            <a:extLst>
              <a:ext uri="{FF2B5EF4-FFF2-40B4-BE49-F238E27FC236}">
                <a16:creationId xmlns:a16="http://schemas.microsoft.com/office/drawing/2014/main" id="{A3E9E736-F2F2-4C17-AA2A-C9BF086FE6AB}"/>
              </a:ext>
            </a:extLst>
          </p:cNvPr>
          <p:cNvSpPr>
            <a:spLocks noChangeAspect="1" noChangeArrowheads="1" noTextEdit="1"/>
          </p:cNvSpPr>
          <p:nvPr/>
        </p:nvSpPr>
        <p:spPr bwMode="auto">
          <a:xfrm>
            <a:off x="8093355" y="5107702"/>
            <a:ext cx="431880" cy="431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TextBox 7">
            <a:extLst>
              <a:ext uri="{FF2B5EF4-FFF2-40B4-BE49-F238E27FC236}">
                <a16:creationId xmlns:a16="http://schemas.microsoft.com/office/drawing/2014/main" id="{1AAEB47F-ACF1-532F-DCD3-82DAAD9854FB}"/>
              </a:ext>
            </a:extLst>
          </p:cNvPr>
          <p:cNvSpPr txBox="1"/>
          <p:nvPr/>
        </p:nvSpPr>
        <p:spPr>
          <a:xfrm>
            <a:off x="630000" y="5792560"/>
            <a:ext cx="2040366"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bg1"/>
                </a:solidFill>
              </a:rPr>
              <a:t>Connecting Bharat</a:t>
            </a:r>
          </a:p>
          <a:p>
            <a:pPr algn="ctr"/>
            <a:r>
              <a:rPr lang="en-US" sz="1400">
                <a:solidFill>
                  <a:schemeClr val="bg1"/>
                </a:solidFill>
              </a:rPr>
              <a:t>100K+ 4G Sites</a:t>
            </a:r>
            <a:br>
              <a:rPr lang="en-US" sz="1400">
                <a:solidFill>
                  <a:schemeClr val="bg1"/>
                </a:solidFill>
              </a:rPr>
            </a:br>
            <a:r>
              <a:rPr lang="en-US" sz="1400">
                <a:solidFill>
                  <a:schemeClr val="bg1"/>
                </a:solidFill>
              </a:rPr>
              <a:t>Across India</a:t>
            </a:r>
          </a:p>
        </p:txBody>
      </p:sp>
      <p:sp>
        <p:nvSpPr>
          <p:cNvPr id="20" name="Oval 19">
            <a:extLst>
              <a:ext uri="{FF2B5EF4-FFF2-40B4-BE49-F238E27FC236}">
                <a16:creationId xmlns:a16="http://schemas.microsoft.com/office/drawing/2014/main" id="{1E9B824A-FEAE-EFB2-4093-0C654411BAF2}"/>
              </a:ext>
            </a:extLst>
          </p:cNvPr>
          <p:cNvSpPr/>
          <p:nvPr/>
        </p:nvSpPr>
        <p:spPr>
          <a:xfrm>
            <a:off x="5758154" y="5016134"/>
            <a:ext cx="608427" cy="614600"/>
          </a:xfrm>
          <a:prstGeom prst="ellipse">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8" name="Oval 27">
            <a:extLst>
              <a:ext uri="{FF2B5EF4-FFF2-40B4-BE49-F238E27FC236}">
                <a16:creationId xmlns:a16="http://schemas.microsoft.com/office/drawing/2014/main" id="{A39E5A61-D915-0F85-6A7A-EE6577475EE4}"/>
              </a:ext>
            </a:extLst>
          </p:cNvPr>
          <p:cNvSpPr/>
          <p:nvPr/>
        </p:nvSpPr>
        <p:spPr>
          <a:xfrm>
            <a:off x="3586098" y="5016134"/>
            <a:ext cx="614600" cy="614600"/>
          </a:xfrm>
          <a:prstGeom prst="ellipse">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 name="TextBox 12">
            <a:extLst>
              <a:ext uri="{FF2B5EF4-FFF2-40B4-BE49-F238E27FC236}">
                <a16:creationId xmlns:a16="http://schemas.microsoft.com/office/drawing/2014/main" id="{B1CB09F9-3FED-8E1B-7CC2-C1AF863FDEE1}"/>
              </a:ext>
            </a:extLst>
          </p:cNvPr>
          <p:cNvSpPr txBox="1"/>
          <p:nvPr/>
        </p:nvSpPr>
        <p:spPr>
          <a:xfrm>
            <a:off x="2853246" y="5792560"/>
            <a:ext cx="2040366"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solidFill>
                  <a:srgbClr val="FFFFFF"/>
                </a:solidFill>
              </a:rPr>
              <a:t>Significant Investments to build state of the art Bharat Network </a:t>
            </a:r>
          </a:p>
        </p:txBody>
      </p:sp>
      <p:sp>
        <p:nvSpPr>
          <p:cNvPr id="15" name="TextBox 14">
            <a:extLst>
              <a:ext uri="{FF2B5EF4-FFF2-40B4-BE49-F238E27FC236}">
                <a16:creationId xmlns:a16="http://schemas.microsoft.com/office/drawing/2014/main" id="{0CBC8612-D68D-828D-91A1-73DD757727DC}"/>
              </a:ext>
            </a:extLst>
          </p:cNvPr>
          <p:cNvSpPr txBox="1"/>
          <p:nvPr/>
        </p:nvSpPr>
        <p:spPr>
          <a:xfrm>
            <a:off x="5076492" y="5792560"/>
            <a:ext cx="2040366"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solidFill>
                  <a:srgbClr val="FFFFFF"/>
                </a:solidFill>
              </a:rPr>
              <a:t>End-to-end provisioning &amp; routing managed at scale </a:t>
            </a:r>
          </a:p>
        </p:txBody>
      </p:sp>
      <p:sp>
        <p:nvSpPr>
          <p:cNvPr id="23" name="TextBox 15">
            <a:extLst>
              <a:ext uri="{FF2B5EF4-FFF2-40B4-BE49-F238E27FC236}">
                <a16:creationId xmlns:a16="http://schemas.microsoft.com/office/drawing/2014/main" id="{ABF9B22F-8A84-F5FC-BEF9-4E19226173D2}"/>
              </a:ext>
            </a:extLst>
          </p:cNvPr>
          <p:cNvSpPr txBox="1"/>
          <p:nvPr/>
        </p:nvSpPr>
        <p:spPr>
          <a:xfrm>
            <a:off x="7299740" y="5792560"/>
            <a:ext cx="2040366"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solidFill>
                  <a:srgbClr val="FFFFFF"/>
                </a:solidFill>
              </a:rPr>
              <a:t>Enterprise-grade service </a:t>
            </a:r>
            <a:br>
              <a:rPr lang="en-US" sz="1400">
                <a:solidFill>
                  <a:srgbClr val="FFFFFF"/>
                </a:solidFill>
              </a:rPr>
            </a:br>
            <a:r>
              <a:rPr lang="en-US" sz="1400">
                <a:solidFill>
                  <a:srgbClr val="FFFFFF"/>
                </a:solidFill>
              </a:rPr>
              <a:t>delivery and network management expertise</a:t>
            </a:r>
          </a:p>
        </p:txBody>
      </p:sp>
      <p:sp>
        <p:nvSpPr>
          <p:cNvPr id="161" name="Rectangle: Rounded Corners 160">
            <a:extLst>
              <a:ext uri="{FF2B5EF4-FFF2-40B4-BE49-F238E27FC236}">
                <a16:creationId xmlns:a16="http://schemas.microsoft.com/office/drawing/2014/main" id="{2137D6FD-C1D9-43B4-BB5B-09C03BC3B208}"/>
              </a:ext>
            </a:extLst>
          </p:cNvPr>
          <p:cNvSpPr/>
          <p:nvPr/>
        </p:nvSpPr>
        <p:spPr>
          <a:xfrm>
            <a:off x="630001" y="1894492"/>
            <a:ext cx="2630467" cy="2493758"/>
          </a:xfrm>
          <a:prstGeom prst="roundRect">
            <a:avLst>
              <a:gd name="adj" fmla="val 1833"/>
            </a:avLst>
          </a:prstGeom>
          <a:gradFill flip="none" rotWithShape="1">
            <a:gsLst>
              <a:gs pos="0">
                <a:schemeClr val="accent1"/>
              </a:gs>
              <a:gs pos="100000">
                <a:schemeClr val="tx2"/>
              </a:gs>
            </a:gsLst>
            <a:lin ang="135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algn="ctr"/>
            <a:endParaRPr lang="en-US" b="1">
              <a:solidFill>
                <a:srgbClr val="FFFFFF"/>
              </a:solidFill>
            </a:endParaRPr>
          </a:p>
        </p:txBody>
      </p:sp>
      <p:sp>
        <p:nvSpPr>
          <p:cNvPr id="162" name="Rectangle: Rounded Corners 161">
            <a:extLst>
              <a:ext uri="{FF2B5EF4-FFF2-40B4-BE49-F238E27FC236}">
                <a16:creationId xmlns:a16="http://schemas.microsoft.com/office/drawing/2014/main" id="{049B3082-D037-4080-9EDF-8E1ABCD93240}"/>
              </a:ext>
            </a:extLst>
          </p:cNvPr>
          <p:cNvSpPr/>
          <p:nvPr/>
        </p:nvSpPr>
        <p:spPr>
          <a:xfrm>
            <a:off x="3397628" y="1894492"/>
            <a:ext cx="2630467" cy="2493758"/>
          </a:xfrm>
          <a:prstGeom prst="roundRect">
            <a:avLst>
              <a:gd name="adj" fmla="val 1833"/>
            </a:avLst>
          </a:prstGeom>
          <a:gradFill flip="none" rotWithShape="1">
            <a:gsLst>
              <a:gs pos="0">
                <a:schemeClr val="accent1"/>
              </a:gs>
              <a:gs pos="100000">
                <a:schemeClr val="tx2"/>
              </a:gs>
            </a:gsLst>
            <a:lin ang="135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algn="ctr"/>
            <a:endParaRPr lang="en-US" b="1">
              <a:solidFill>
                <a:srgbClr val="FFFFFF"/>
              </a:solidFill>
            </a:endParaRPr>
          </a:p>
        </p:txBody>
      </p:sp>
      <p:sp>
        <p:nvSpPr>
          <p:cNvPr id="163" name="Rectangle: Rounded Corners 162">
            <a:extLst>
              <a:ext uri="{FF2B5EF4-FFF2-40B4-BE49-F238E27FC236}">
                <a16:creationId xmlns:a16="http://schemas.microsoft.com/office/drawing/2014/main" id="{B4B23888-5741-4FE3-B7D6-1D9936899454}"/>
              </a:ext>
            </a:extLst>
          </p:cNvPr>
          <p:cNvSpPr/>
          <p:nvPr/>
        </p:nvSpPr>
        <p:spPr>
          <a:xfrm>
            <a:off x="6165255" y="1894492"/>
            <a:ext cx="2630467" cy="2493758"/>
          </a:xfrm>
          <a:prstGeom prst="roundRect">
            <a:avLst>
              <a:gd name="adj" fmla="val 1833"/>
            </a:avLst>
          </a:prstGeom>
          <a:gradFill flip="none" rotWithShape="1">
            <a:gsLst>
              <a:gs pos="0">
                <a:schemeClr val="accent1"/>
              </a:gs>
              <a:gs pos="100000">
                <a:schemeClr val="tx2"/>
              </a:gs>
            </a:gsLst>
            <a:lin ang="135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algn="ctr"/>
            <a:endParaRPr lang="en-US" b="1">
              <a:solidFill>
                <a:srgbClr val="FFFFFF"/>
              </a:solidFill>
            </a:endParaRPr>
          </a:p>
        </p:txBody>
      </p:sp>
      <p:sp>
        <p:nvSpPr>
          <p:cNvPr id="164" name="Rectangle: Rounded Corners 163">
            <a:extLst>
              <a:ext uri="{FF2B5EF4-FFF2-40B4-BE49-F238E27FC236}">
                <a16:creationId xmlns:a16="http://schemas.microsoft.com/office/drawing/2014/main" id="{065112CE-CDB5-4DEF-9E0C-4C88A56D79C3}"/>
              </a:ext>
            </a:extLst>
          </p:cNvPr>
          <p:cNvSpPr/>
          <p:nvPr/>
        </p:nvSpPr>
        <p:spPr>
          <a:xfrm>
            <a:off x="8932883" y="1894492"/>
            <a:ext cx="2630467" cy="2493758"/>
          </a:xfrm>
          <a:prstGeom prst="roundRect">
            <a:avLst>
              <a:gd name="adj" fmla="val 1833"/>
            </a:avLst>
          </a:prstGeom>
          <a:gradFill flip="none" rotWithShape="1">
            <a:gsLst>
              <a:gs pos="0">
                <a:schemeClr val="accent1"/>
              </a:gs>
              <a:gs pos="100000">
                <a:schemeClr val="tx2"/>
              </a:gs>
            </a:gsLst>
            <a:lin ang="135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algn="ctr"/>
            <a:endParaRPr lang="en-US" b="1">
              <a:solidFill>
                <a:srgbClr val="FFFFFF"/>
              </a:solidFill>
            </a:endParaRPr>
          </a:p>
        </p:txBody>
      </p:sp>
      <p:sp>
        <p:nvSpPr>
          <p:cNvPr id="172" name="Rectangle: Rounded Corners 171">
            <a:extLst>
              <a:ext uri="{FF2B5EF4-FFF2-40B4-BE49-F238E27FC236}">
                <a16:creationId xmlns:a16="http://schemas.microsoft.com/office/drawing/2014/main" id="{985AB47E-DB8F-4AF5-ACAA-43134248AC95}"/>
              </a:ext>
            </a:extLst>
          </p:cNvPr>
          <p:cNvSpPr/>
          <p:nvPr/>
        </p:nvSpPr>
        <p:spPr>
          <a:xfrm>
            <a:off x="679450" y="1944943"/>
            <a:ext cx="2531568" cy="2392858"/>
          </a:xfrm>
          <a:prstGeom prst="roundRect">
            <a:avLst>
              <a:gd name="adj" fmla="val 1833"/>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73" name="Rectangle: Rounded Corners 172">
            <a:extLst>
              <a:ext uri="{FF2B5EF4-FFF2-40B4-BE49-F238E27FC236}">
                <a16:creationId xmlns:a16="http://schemas.microsoft.com/office/drawing/2014/main" id="{2D21308C-5526-4B25-AEE4-B3CDDA41EDD2}"/>
              </a:ext>
            </a:extLst>
          </p:cNvPr>
          <p:cNvSpPr/>
          <p:nvPr/>
        </p:nvSpPr>
        <p:spPr>
          <a:xfrm>
            <a:off x="3447077" y="1944943"/>
            <a:ext cx="2531568" cy="2392858"/>
          </a:xfrm>
          <a:prstGeom prst="roundRect">
            <a:avLst>
              <a:gd name="adj" fmla="val 1833"/>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74" name="Rectangle: Rounded Corners 173">
            <a:extLst>
              <a:ext uri="{FF2B5EF4-FFF2-40B4-BE49-F238E27FC236}">
                <a16:creationId xmlns:a16="http://schemas.microsoft.com/office/drawing/2014/main" id="{CA6A84FC-E1AB-485E-95E1-490FF5AAF4DA}"/>
              </a:ext>
            </a:extLst>
          </p:cNvPr>
          <p:cNvSpPr/>
          <p:nvPr/>
        </p:nvSpPr>
        <p:spPr>
          <a:xfrm>
            <a:off x="6214704" y="1944943"/>
            <a:ext cx="2531568" cy="2392858"/>
          </a:xfrm>
          <a:prstGeom prst="roundRect">
            <a:avLst>
              <a:gd name="adj" fmla="val 1833"/>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75" name="Rectangle: Rounded Corners 174">
            <a:extLst>
              <a:ext uri="{FF2B5EF4-FFF2-40B4-BE49-F238E27FC236}">
                <a16:creationId xmlns:a16="http://schemas.microsoft.com/office/drawing/2014/main" id="{1A2555BB-1D47-474B-836E-8FB76935C739}"/>
              </a:ext>
            </a:extLst>
          </p:cNvPr>
          <p:cNvSpPr/>
          <p:nvPr/>
        </p:nvSpPr>
        <p:spPr>
          <a:xfrm>
            <a:off x="8982332" y="1944943"/>
            <a:ext cx="2531568" cy="2392858"/>
          </a:xfrm>
          <a:prstGeom prst="roundRect">
            <a:avLst>
              <a:gd name="adj" fmla="val 1833"/>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57" name="Picture 156">
            <a:extLst>
              <a:ext uri="{FF2B5EF4-FFF2-40B4-BE49-F238E27FC236}">
                <a16:creationId xmlns:a16="http://schemas.microsoft.com/office/drawing/2014/main" id="{08E4F9F9-03D1-485B-9F95-2E58F1521914}"/>
              </a:ext>
            </a:extLst>
          </p:cNvPr>
          <p:cNvPicPr>
            <a:picLocks noChangeAspect="1"/>
          </p:cNvPicPr>
          <p:nvPr/>
        </p:nvPicPr>
        <p:blipFill>
          <a:blip r:embed="rId13"/>
          <a:srcRect l="20054" t="7248" r="20054" b="7248"/>
          <a:stretch>
            <a:fillRect/>
          </a:stretch>
        </p:blipFill>
        <p:spPr>
          <a:xfrm>
            <a:off x="6284848" y="2011429"/>
            <a:ext cx="2391280" cy="2259886"/>
          </a:xfrm>
          <a:prstGeom prst="roundRect">
            <a:avLst>
              <a:gd name="adj" fmla="val 1839"/>
            </a:avLst>
          </a:prstGeom>
          <a:effectLst/>
        </p:spPr>
      </p:pic>
      <p:sp>
        <p:nvSpPr>
          <p:cNvPr id="200" name="GradientOverlay">
            <a:extLst>
              <a:ext uri="{FF2B5EF4-FFF2-40B4-BE49-F238E27FC236}">
                <a16:creationId xmlns:a16="http://schemas.microsoft.com/office/drawing/2014/main" id="{DAFAD5F7-029E-4D72-A268-EA9CDF223627}"/>
              </a:ext>
            </a:extLst>
          </p:cNvPr>
          <p:cNvSpPr/>
          <p:nvPr>
            <p:custDataLst>
              <p:tags r:id="rId4"/>
            </p:custDataLst>
          </p:nvPr>
        </p:nvSpPr>
        <p:spPr>
          <a:xfrm>
            <a:off x="6284848" y="2011429"/>
            <a:ext cx="2391280" cy="2259886"/>
          </a:xfrm>
          <a:prstGeom prst="rect">
            <a:avLst/>
          </a:prstGeom>
          <a:solidFill>
            <a:srgbClr val="000000">
              <a:alpha val="6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rgbClr val="FFFFFF"/>
              </a:solidFill>
            </a:endParaRPr>
          </a:p>
        </p:txBody>
      </p:sp>
      <p:pic>
        <p:nvPicPr>
          <p:cNvPr id="156" name="Picture 155">
            <a:extLst>
              <a:ext uri="{FF2B5EF4-FFF2-40B4-BE49-F238E27FC236}">
                <a16:creationId xmlns:a16="http://schemas.microsoft.com/office/drawing/2014/main" id="{BCF5D06B-1629-4AFA-AE80-5CFB441EDB12}"/>
              </a:ext>
            </a:extLst>
          </p:cNvPr>
          <p:cNvPicPr>
            <a:picLocks noChangeAspect="1"/>
          </p:cNvPicPr>
          <p:nvPr/>
        </p:nvPicPr>
        <p:blipFill>
          <a:blip r:embed="rId14"/>
          <a:srcRect l="5874" t="22199" r="5873" b="22199"/>
          <a:stretch>
            <a:fillRect/>
          </a:stretch>
        </p:blipFill>
        <p:spPr>
          <a:xfrm>
            <a:off x="3517221" y="2011429"/>
            <a:ext cx="2391280" cy="2259886"/>
          </a:xfrm>
          <a:prstGeom prst="roundRect">
            <a:avLst>
              <a:gd name="adj" fmla="val 1839"/>
            </a:avLst>
          </a:prstGeom>
          <a:effectLst/>
        </p:spPr>
      </p:pic>
      <p:sp>
        <p:nvSpPr>
          <p:cNvPr id="199" name="GradientOverlay">
            <a:extLst>
              <a:ext uri="{FF2B5EF4-FFF2-40B4-BE49-F238E27FC236}">
                <a16:creationId xmlns:a16="http://schemas.microsoft.com/office/drawing/2014/main" id="{4B8B80CD-34F1-4E6E-A108-6970B311333A}"/>
              </a:ext>
            </a:extLst>
          </p:cNvPr>
          <p:cNvSpPr/>
          <p:nvPr>
            <p:custDataLst>
              <p:tags r:id="rId5"/>
            </p:custDataLst>
          </p:nvPr>
        </p:nvSpPr>
        <p:spPr>
          <a:xfrm>
            <a:off x="3517221" y="2011429"/>
            <a:ext cx="2391280" cy="2259886"/>
          </a:xfrm>
          <a:prstGeom prst="rect">
            <a:avLst/>
          </a:prstGeom>
          <a:solidFill>
            <a:srgbClr val="000000">
              <a:alpha val="6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rgbClr val="FFFFFF"/>
              </a:solidFill>
            </a:endParaRPr>
          </a:p>
        </p:txBody>
      </p:sp>
      <p:pic>
        <p:nvPicPr>
          <p:cNvPr id="101" name="Picture 100">
            <a:extLst>
              <a:ext uri="{FF2B5EF4-FFF2-40B4-BE49-F238E27FC236}">
                <a16:creationId xmlns:a16="http://schemas.microsoft.com/office/drawing/2014/main" id="{EDD65F8A-A277-406E-A633-9D4B62E45C9A}"/>
              </a:ext>
            </a:extLst>
          </p:cNvPr>
          <p:cNvPicPr>
            <a:picLocks noChangeAspect="1"/>
          </p:cNvPicPr>
          <p:nvPr/>
        </p:nvPicPr>
        <p:blipFill rotWithShape="1">
          <a:blip r:embed="rId15"/>
          <a:srcRect l="4143" t="24235" r="4143" b="24235"/>
          <a:stretch/>
        </p:blipFill>
        <p:spPr>
          <a:xfrm>
            <a:off x="749594" y="2011429"/>
            <a:ext cx="2391280" cy="2259886"/>
          </a:xfrm>
          <a:prstGeom prst="roundRect">
            <a:avLst>
              <a:gd name="adj" fmla="val 1839"/>
            </a:avLst>
          </a:prstGeom>
          <a:ln>
            <a:solidFill>
              <a:schemeClr val="bg1">
                <a:lumMod val="85000"/>
              </a:schemeClr>
            </a:solidFill>
          </a:ln>
          <a:effectLst/>
        </p:spPr>
      </p:pic>
      <p:sp>
        <p:nvSpPr>
          <p:cNvPr id="198" name="GradientOverlay">
            <a:extLst>
              <a:ext uri="{FF2B5EF4-FFF2-40B4-BE49-F238E27FC236}">
                <a16:creationId xmlns:a16="http://schemas.microsoft.com/office/drawing/2014/main" id="{B804945A-E373-41F9-A040-5589BE5EF8FD}"/>
              </a:ext>
            </a:extLst>
          </p:cNvPr>
          <p:cNvSpPr/>
          <p:nvPr>
            <p:custDataLst>
              <p:tags r:id="rId6"/>
            </p:custDataLst>
          </p:nvPr>
        </p:nvSpPr>
        <p:spPr>
          <a:xfrm>
            <a:off x="749594" y="2011429"/>
            <a:ext cx="2391280" cy="2259886"/>
          </a:xfrm>
          <a:prstGeom prst="rect">
            <a:avLst/>
          </a:prstGeom>
          <a:solidFill>
            <a:srgbClr val="000000">
              <a:alpha val="6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rgbClr val="FFFFFF"/>
              </a:solidFill>
            </a:endParaRPr>
          </a:p>
        </p:txBody>
      </p:sp>
      <p:pic>
        <p:nvPicPr>
          <p:cNvPr id="111" name="Picture 110">
            <a:extLst>
              <a:ext uri="{FF2B5EF4-FFF2-40B4-BE49-F238E27FC236}">
                <a16:creationId xmlns:a16="http://schemas.microsoft.com/office/drawing/2014/main" id="{24DD9810-D6E8-4951-A719-D72F030EEF4E}"/>
              </a:ext>
            </a:extLst>
          </p:cNvPr>
          <p:cNvPicPr>
            <a:picLocks noChangeAspect="1"/>
          </p:cNvPicPr>
          <p:nvPr/>
        </p:nvPicPr>
        <p:blipFill rotWithShape="1">
          <a:blip r:embed="rId16"/>
          <a:srcRect l="17421" t="6736" r="17421" b="6736"/>
          <a:stretch/>
        </p:blipFill>
        <p:spPr>
          <a:xfrm>
            <a:off x="9052475" y="2011429"/>
            <a:ext cx="2391280" cy="2259886"/>
          </a:xfrm>
          <a:prstGeom prst="roundRect">
            <a:avLst>
              <a:gd name="adj" fmla="val 1839"/>
            </a:avLst>
          </a:prstGeom>
          <a:ln>
            <a:solidFill>
              <a:schemeClr val="bg1">
                <a:lumMod val="85000"/>
              </a:schemeClr>
            </a:solidFill>
          </a:ln>
          <a:effectLst/>
        </p:spPr>
      </p:pic>
      <p:sp>
        <p:nvSpPr>
          <p:cNvPr id="201" name="GradientOverlay">
            <a:extLst>
              <a:ext uri="{FF2B5EF4-FFF2-40B4-BE49-F238E27FC236}">
                <a16:creationId xmlns:a16="http://schemas.microsoft.com/office/drawing/2014/main" id="{EB5F184F-B268-4178-867D-F1023F3C2EFD}"/>
              </a:ext>
            </a:extLst>
          </p:cNvPr>
          <p:cNvSpPr/>
          <p:nvPr>
            <p:custDataLst>
              <p:tags r:id="rId7"/>
            </p:custDataLst>
          </p:nvPr>
        </p:nvSpPr>
        <p:spPr>
          <a:xfrm>
            <a:off x="9052475" y="2011429"/>
            <a:ext cx="2391280" cy="2259886"/>
          </a:xfrm>
          <a:prstGeom prst="rect">
            <a:avLst/>
          </a:prstGeom>
          <a:solidFill>
            <a:srgbClr val="000000">
              <a:alpha val="6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rgbClr val="FFFFFF"/>
              </a:solidFill>
            </a:endParaRPr>
          </a:p>
        </p:txBody>
      </p:sp>
      <p:grpSp>
        <p:nvGrpSpPr>
          <p:cNvPr id="202" name="Group 201">
            <a:extLst>
              <a:ext uri="{FF2B5EF4-FFF2-40B4-BE49-F238E27FC236}">
                <a16:creationId xmlns:a16="http://schemas.microsoft.com/office/drawing/2014/main" id="{591637FD-4A82-4B6E-BF50-E713A92FB954}"/>
              </a:ext>
            </a:extLst>
          </p:cNvPr>
          <p:cNvGrpSpPr/>
          <p:nvPr/>
        </p:nvGrpSpPr>
        <p:grpSpPr>
          <a:xfrm>
            <a:off x="1636883" y="1122815"/>
            <a:ext cx="676323" cy="763575"/>
            <a:chOff x="1636883" y="1122815"/>
            <a:chExt cx="676323" cy="763575"/>
          </a:xfrm>
        </p:grpSpPr>
        <p:sp>
          <p:nvSpPr>
            <p:cNvPr id="166" name="Oval 165">
              <a:extLst>
                <a:ext uri="{FF2B5EF4-FFF2-40B4-BE49-F238E27FC236}">
                  <a16:creationId xmlns:a16="http://schemas.microsoft.com/office/drawing/2014/main" id="{0699C6ED-B641-491F-A5FD-27B8B904718D}"/>
                </a:ext>
              </a:extLst>
            </p:cNvPr>
            <p:cNvSpPr/>
            <p:nvPr/>
          </p:nvSpPr>
          <p:spPr>
            <a:xfrm>
              <a:off x="1636883" y="1613257"/>
              <a:ext cx="676323" cy="273133"/>
            </a:xfrm>
            <a:prstGeom prst="ellipse">
              <a:avLst/>
            </a:prstGeom>
            <a:gradFill flip="none" rotWithShape="1">
              <a:gsLst>
                <a:gs pos="0">
                  <a:schemeClr val="bg2">
                    <a:lumMod val="10000"/>
                    <a:alpha val="70000"/>
                  </a:schemeClr>
                </a:gs>
                <a:gs pos="100000">
                  <a:schemeClr val="bg2">
                    <a:lumMod val="1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a:solidFill>
                  <a:schemeClr val="bg1"/>
                </a:solidFill>
              </a:endParaRPr>
            </a:p>
          </p:txBody>
        </p:sp>
        <p:sp>
          <p:nvSpPr>
            <p:cNvPr id="167" name="Oval 166">
              <a:extLst>
                <a:ext uri="{FF2B5EF4-FFF2-40B4-BE49-F238E27FC236}">
                  <a16:creationId xmlns:a16="http://schemas.microsoft.com/office/drawing/2014/main" id="{7A5878AC-0BAB-4B6C-A806-50DC063F34E9}"/>
                </a:ext>
              </a:extLst>
            </p:cNvPr>
            <p:cNvSpPr/>
            <p:nvPr/>
          </p:nvSpPr>
          <p:spPr>
            <a:xfrm>
              <a:off x="1636883" y="1122815"/>
              <a:ext cx="676323" cy="676324"/>
            </a:xfrm>
            <a:prstGeom prst="ellipse">
              <a:avLst/>
            </a:prstGeom>
            <a:gradFill flip="none" rotWithShape="1">
              <a:gsLst>
                <a:gs pos="0">
                  <a:schemeClr val="accent1"/>
                </a:gs>
                <a:gs pos="100000">
                  <a:schemeClr val="tx2"/>
                </a:gs>
              </a:gsLst>
              <a:lin ang="135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algn="ctr"/>
              <a:endParaRPr lang="en-US" b="1">
                <a:solidFill>
                  <a:srgbClr val="FFFFFF"/>
                </a:solidFill>
              </a:endParaRPr>
            </a:p>
          </p:txBody>
        </p:sp>
        <p:grpSp>
          <p:nvGrpSpPr>
            <p:cNvPr id="117" name="bcgIcons_Power Plant 2 ">
              <a:extLst>
                <a:ext uri="{FF2B5EF4-FFF2-40B4-BE49-F238E27FC236}">
                  <a16:creationId xmlns:a16="http://schemas.microsoft.com/office/drawing/2014/main" id="{C91B49BE-DEAC-45C6-BB75-60FC11BF5072}"/>
                </a:ext>
              </a:extLst>
            </p:cNvPr>
            <p:cNvGrpSpPr>
              <a:grpSpLocks noChangeAspect="1"/>
            </p:cNvGrpSpPr>
            <p:nvPr/>
          </p:nvGrpSpPr>
          <p:grpSpPr>
            <a:xfrm>
              <a:off x="1746430" y="1232362"/>
              <a:ext cx="457230" cy="457230"/>
              <a:chOff x="5268577" y="2594717"/>
              <a:chExt cx="1644395" cy="1644395"/>
            </a:xfrm>
          </p:grpSpPr>
          <p:sp>
            <p:nvSpPr>
              <p:cNvPr id="118" name="AutoShape 8">
                <a:extLst>
                  <a:ext uri="{FF2B5EF4-FFF2-40B4-BE49-F238E27FC236}">
                    <a16:creationId xmlns:a16="http://schemas.microsoft.com/office/drawing/2014/main" id="{96C9A8DB-2B93-465B-9B8C-754E453FA527}"/>
                  </a:ext>
                </a:extLst>
              </p:cNvPr>
              <p:cNvSpPr>
                <a:spLocks noChangeAspect="1" noChangeArrowheads="1" noTextEdit="1"/>
              </p:cNvSpPr>
              <p:nvPr/>
            </p:nvSpPr>
            <p:spPr bwMode="auto">
              <a:xfrm>
                <a:off x="5268577" y="2594717"/>
                <a:ext cx="1644395" cy="1644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9" name="Group 118">
                <a:extLst>
                  <a:ext uri="{FF2B5EF4-FFF2-40B4-BE49-F238E27FC236}">
                    <a16:creationId xmlns:a16="http://schemas.microsoft.com/office/drawing/2014/main" id="{F7B22346-3323-4DA4-A0E7-C0D1FF43896C}"/>
                  </a:ext>
                </a:extLst>
              </p:cNvPr>
              <p:cNvGrpSpPr/>
              <p:nvPr/>
            </p:nvGrpSpPr>
            <p:grpSpPr>
              <a:xfrm>
                <a:off x="5400965" y="2860364"/>
                <a:ext cx="1379620" cy="1113101"/>
                <a:chOff x="5400965" y="2860364"/>
                <a:chExt cx="1379620" cy="1113101"/>
              </a:xfrm>
            </p:grpSpPr>
            <p:sp>
              <p:nvSpPr>
                <p:cNvPr id="120" name="Freeform 11">
                  <a:extLst>
                    <a:ext uri="{FF2B5EF4-FFF2-40B4-BE49-F238E27FC236}">
                      <a16:creationId xmlns:a16="http://schemas.microsoft.com/office/drawing/2014/main" id="{BAEB373E-126C-49F8-A66C-177A2EE71EC6}"/>
                    </a:ext>
                  </a:extLst>
                </p:cNvPr>
                <p:cNvSpPr>
                  <a:spLocks/>
                </p:cNvSpPr>
                <p:nvPr/>
              </p:nvSpPr>
              <p:spPr bwMode="auto">
                <a:xfrm>
                  <a:off x="5400965" y="3131525"/>
                  <a:ext cx="1379620" cy="841940"/>
                </a:xfrm>
                <a:custGeom>
                  <a:avLst/>
                  <a:gdLst>
                    <a:gd name="connsiteX0" fmla="*/ 85646 w 1379620"/>
                    <a:gd name="connsiteY0" fmla="*/ 697939 h 841940"/>
                    <a:gd name="connsiteX1" fmla="*/ 1293260 w 1379620"/>
                    <a:gd name="connsiteY1" fmla="*/ 697939 h 841940"/>
                    <a:gd name="connsiteX2" fmla="*/ 1308962 w 1379620"/>
                    <a:gd name="connsiteY2" fmla="*/ 713622 h 841940"/>
                    <a:gd name="connsiteX3" fmla="*/ 1308962 w 1379620"/>
                    <a:gd name="connsiteY3" fmla="*/ 739286 h 841940"/>
                    <a:gd name="connsiteX4" fmla="*/ 1363918 w 1379620"/>
                    <a:gd name="connsiteY4" fmla="*/ 739286 h 841940"/>
                    <a:gd name="connsiteX5" fmla="*/ 1379620 w 1379620"/>
                    <a:gd name="connsiteY5" fmla="*/ 754969 h 841940"/>
                    <a:gd name="connsiteX6" fmla="*/ 1379620 w 1379620"/>
                    <a:gd name="connsiteY6" fmla="*/ 826257 h 841940"/>
                    <a:gd name="connsiteX7" fmla="*/ 1363918 w 1379620"/>
                    <a:gd name="connsiteY7" fmla="*/ 841940 h 841940"/>
                    <a:gd name="connsiteX8" fmla="*/ 15702 w 1379620"/>
                    <a:gd name="connsiteY8" fmla="*/ 841940 h 841940"/>
                    <a:gd name="connsiteX9" fmla="*/ 0 w 1379620"/>
                    <a:gd name="connsiteY9" fmla="*/ 826257 h 841940"/>
                    <a:gd name="connsiteX10" fmla="*/ 0 w 1379620"/>
                    <a:gd name="connsiteY10" fmla="*/ 754969 h 841940"/>
                    <a:gd name="connsiteX11" fmla="*/ 15702 w 1379620"/>
                    <a:gd name="connsiteY11" fmla="*/ 739286 h 841940"/>
                    <a:gd name="connsiteX12" fmla="*/ 69944 w 1379620"/>
                    <a:gd name="connsiteY12" fmla="*/ 739286 h 841940"/>
                    <a:gd name="connsiteX13" fmla="*/ 69944 w 1379620"/>
                    <a:gd name="connsiteY13" fmla="*/ 713622 h 841940"/>
                    <a:gd name="connsiteX14" fmla="*/ 85646 w 1379620"/>
                    <a:gd name="connsiteY14" fmla="*/ 697939 h 841940"/>
                    <a:gd name="connsiteX15" fmla="*/ 1230974 w 1379620"/>
                    <a:gd name="connsiteY15" fmla="*/ 484841 h 841940"/>
                    <a:gd name="connsiteX16" fmla="*/ 1284400 w 1379620"/>
                    <a:gd name="connsiteY16" fmla="*/ 484841 h 841940"/>
                    <a:gd name="connsiteX17" fmla="*/ 1300071 w 1379620"/>
                    <a:gd name="connsiteY17" fmla="*/ 500551 h 841940"/>
                    <a:gd name="connsiteX18" fmla="*/ 1299359 w 1379620"/>
                    <a:gd name="connsiteY18" fmla="*/ 661939 h 841940"/>
                    <a:gd name="connsiteX19" fmla="*/ 1268728 w 1379620"/>
                    <a:gd name="connsiteY19" fmla="*/ 661939 h 841940"/>
                    <a:gd name="connsiteX20" fmla="*/ 1268728 w 1379620"/>
                    <a:gd name="connsiteY20" fmla="*/ 516262 h 841940"/>
                    <a:gd name="connsiteX21" fmla="*/ 1233111 w 1379620"/>
                    <a:gd name="connsiteY21" fmla="*/ 516262 h 841940"/>
                    <a:gd name="connsiteX22" fmla="*/ 1230974 w 1379620"/>
                    <a:gd name="connsiteY22" fmla="*/ 484841 h 841940"/>
                    <a:gd name="connsiteX23" fmla="*/ 111855 w 1379620"/>
                    <a:gd name="connsiteY23" fmla="*/ 350397 h 841940"/>
                    <a:gd name="connsiteX24" fmla="*/ 495046 w 1379620"/>
                    <a:gd name="connsiteY24" fmla="*/ 478132 h 841940"/>
                    <a:gd name="connsiteX25" fmla="*/ 495046 w 1379620"/>
                    <a:gd name="connsiteY25" fmla="*/ 365383 h 841940"/>
                    <a:gd name="connsiteX26" fmla="*/ 501469 w 1379620"/>
                    <a:gd name="connsiteY26" fmla="*/ 352538 h 841940"/>
                    <a:gd name="connsiteX27" fmla="*/ 515740 w 1379620"/>
                    <a:gd name="connsiteY27" fmla="*/ 350397 h 841940"/>
                    <a:gd name="connsiteX28" fmla="*/ 599229 w 1379620"/>
                    <a:gd name="connsiteY28" fmla="*/ 378228 h 841940"/>
                    <a:gd name="connsiteX29" fmla="*/ 597088 w 1379620"/>
                    <a:gd name="connsiteY29" fmla="*/ 410340 h 841940"/>
                    <a:gd name="connsiteX30" fmla="*/ 526444 w 1379620"/>
                    <a:gd name="connsiteY30" fmla="*/ 386791 h 841940"/>
                    <a:gd name="connsiteX31" fmla="*/ 526444 w 1379620"/>
                    <a:gd name="connsiteY31" fmla="*/ 499540 h 841940"/>
                    <a:gd name="connsiteX32" fmla="*/ 520022 w 1379620"/>
                    <a:gd name="connsiteY32" fmla="*/ 512385 h 841940"/>
                    <a:gd name="connsiteX33" fmla="*/ 505750 w 1379620"/>
                    <a:gd name="connsiteY33" fmla="*/ 514525 h 841940"/>
                    <a:gd name="connsiteX34" fmla="*/ 122559 w 1379620"/>
                    <a:gd name="connsiteY34" fmla="*/ 386791 h 841940"/>
                    <a:gd name="connsiteX35" fmla="*/ 122559 w 1379620"/>
                    <a:gd name="connsiteY35" fmla="*/ 654391 h 841940"/>
                    <a:gd name="connsiteX36" fmla="*/ 91875 w 1379620"/>
                    <a:gd name="connsiteY36" fmla="*/ 654391 h 841940"/>
                    <a:gd name="connsiteX37" fmla="*/ 91162 w 1379620"/>
                    <a:gd name="connsiteY37" fmla="*/ 365383 h 841940"/>
                    <a:gd name="connsiteX38" fmla="*/ 97584 w 1379620"/>
                    <a:gd name="connsiteY38" fmla="*/ 352538 h 841940"/>
                    <a:gd name="connsiteX39" fmla="*/ 111855 w 1379620"/>
                    <a:gd name="connsiteY39" fmla="*/ 350397 h 841940"/>
                    <a:gd name="connsiteX40" fmla="*/ 998305 w 1379620"/>
                    <a:gd name="connsiteY40" fmla="*/ 0 h 841940"/>
                    <a:gd name="connsiteX41" fmla="*/ 1158935 w 1379620"/>
                    <a:gd name="connsiteY41" fmla="*/ 0 h 841940"/>
                    <a:gd name="connsiteX42" fmla="*/ 1171072 w 1379620"/>
                    <a:gd name="connsiteY42" fmla="*/ 15699 h 841940"/>
                    <a:gd name="connsiteX43" fmla="*/ 1208195 w 1379620"/>
                    <a:gd name="connsiteY43" fmla="*/ 642224 h 841940"/>
                    <a:gd name="connsiteX44" fmla="*/ 1196059 w 1379620"/>
                    <a:gd name="connsiteY44" fmla="*/ 660777 h 841940"/>
                    <a:gd name="connsiteX45" fmla="*/ 960468 w 1379620"/>
                    <a:gd name="connsiteY45" fmla="*/ 660777 h 841940"/>
                    <a:gd name="connsiteX46" fmla="*/ 948331 w 1379620"/>
                    <a:gd name="connsiteY46" fmla="*/ 642224 h 841940"/>
                    <a:gd name="connsiteX47" fmla="*/ 986169 w 1379620"/>
                    <a:gd name="connsiteY47" fmla="*/ 15699 h 841940"/>
                    <a:gd name="connsiteX48" fmla="*/ 998305 w 1379620"/>
                    <a:gd name="connsiteY48" fmla="*/ 0 h 841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79620" h="841940">
                      <a:moveTo>
                        <a:pt x="85646" y="697939"/>
                      </a:moveTo>
                      <a:cubicBezTo>
                        <a:pt x="85646" y="697939"/>
                        <a:pt x="85646" y="697939"/>
                        <a:pt x="1293260" y="697939"/>
                      </a:cubicBezTo>
                      <a:cubicBezTo>
                        <a:pt x="1302538" y="697939"/>
                        <a:pt x="1308962" y="705068"/>
                        <a:pt x="1308962" y="713622"/>
                      </a:cubicBezTo>
                      <a:cubicBezTo>
                        <a:pt x="1308962" y="713622"/>
                        <a:pt x="1308962" y="713622"/>
                        <a:pt x="1308962" y="739286"/>
                      </a:cubicBezTo>
                      <a:cubicBezTo>
                        <a:pt x="1308962" y="739286"/>
                        <a:pt x="1308962" y="739286"/>
                        <a:pt x="1363918" y="739286"/>
                      </a:cubicBezTo>
                      <a:cubicBezTo>
                        <a:pt x="1372483" y="739286"/>
                        <a:pt x="1379620" y="746415"/>
                        <a:pt x="1379620" y="754969"/>
                      </a:cubicBezTo>
                      <a:cubicBezTo>
                        <a:pt x="1379620" y="754969"/>
                        <a:pt x="1379620" y="754969"/>
                        <a:pt x="1379620" y="826257"/>
                      </a:cubicBezTo>
                      <a:cubicBezTo>
                        <a:pt x="1379620" y="835524"/>
                        <a:pt x="1372483" y="841940"/>
                        <a:pt x="1363918" y="841940"/>
                      </a:cubicBezTo>
                      <a:cubicBezTo>
                        <a:pt x="1363918" y="841940"/>
                        <a:pt x="1363918" y="841940"/>
                        <a:pt x="15702" y="841940"/>
                      </a:cubicBezTo>
                      <a:cubicBezTo>
                        <a:pt x="7137" y="841940"/>
                        <a:pt x="0" y="835524"/>
                        <a:pt x="0" y="826257"/>
                      </a:cubicBezTo>
                      <a:cubicBezTo>
                        <a:pt x="0" y="826257"/>
                        <a:pt x="0" y="826257"/>
                        <a:pt x="0" y="754969"/>
                      </a:cubicBezTo>
                      <a:cubicBezTo>
                        <a:pt x="0" y="746415"/>
                        <a:pt x="7137" y="739286"/>
                        <a:pt x="15702" y="739286"/>
                      </a:cubicBezTo>
                      <a:cubicBezTo>
                        <a:pt x="15702" y="739286"/>
                        <a:pt x="15702" y="739286"/>
                        <a:pt x="69944" y="739286"/>
                      </a:cubicBezTo>
                      <a:cubicBezTo>
                        <a:pt x="69944" y="739286"/>
                        <a:pt x="69944" y="739286"/>
                        <a:pt x="69944" y="713622"/>
                      </a:cubicBezTo>
                      <a:cubicBezTo>
                        <a:pt x="69944" y="705068"/>
                        <a:pt x="77081" y="697939"/>
                        <a:pt x="85646" y="697939"/>
                      </a:cubicBezTo>
                      <a:close/>
                      <a:moveTo>
                        <a:pt x="1230974" y="484841"/>
                      </a:moveTo>
                      <a:cubicBezTo>
                        <a:pt x="1230974" y="484841"/>
                        <a:pt x="1230974" y="484841"/>
                        <a:pt x="1284400" y="484841"/>
                      </a:cubicBezTo>
                      <a:cubicBezTo>
                        <a:pt x="1292948" y="484841"/>
                        <a:pt x="1300071" y="491982"/>
                        <a:pt x="1300071" y="500551"/>
                      </a:cubicBezTo>
                      <a:cubicBezTo>
                        <a:pt x="1300071" y="500551"/>
                        <a:pt x="1300071" y="500551"/>
                        <a:pt x="1299359" y="661939"/>
                      </a:cubicBezTo>
                      <a:cubicBezTo>
                        <a:pt x="1299359" y="661939"/>
                        <a:pt x="1299359" y="661939"/>
                        <a:pt x="1268728" y="661939"/>
                      </a:cubicBezTo>
                      <a:cubicBezTo>
                        <a:pt x="1268728" y="661939"/>
                        <a:pt x="1268728" y="661939"/>
                        <a:pt x="1268728" y="516262"/>
                      </a:cubicBezTo>
                      <a:cubicBezTo>
                        <a:pt x="1268728" y="516262"/>
                        <a:pt x="1268728" y="516262"/>
                        <a:pt x="1233111" y="516262"/>
                      </a:cubicBezTo>
                      <a:cubicBezTo>
                        <a:pt x="1233111" y="516262"/>
                        <a:pt x="1233111" y="516262"/>
                        <a:pt x="1230974" y="484841"/>
                      </a:cubicBezTo>
                      <a:close/>
                      <a:moveTo>
                        <a:pt x="111855" y="350397"/>
                      </a:moveTo>
                      <a:cubicBezTo>
                        <a:pt x="111855" y="350397"/>
                        <a:pt x="111855" y="350397"/>
                        <a:pt x="495046" y="478132"/>
                      </a:cubicBezTo>
                      <a:cubicBezTo>
                        <a:pt x="495046" y="478132"/>
                        <a:pt x="495046" y="478132"/>
                        <a:pt x="495046" y="365383"/>
                      </a:cubicBezTo>
                      <a:cubicBezTo>
                        <a:pt x="495046" y="360388"/>
                        <a:pt x="497187" y="355393"/>
                        <a:pt x="501469" y="352538"/>
                      </a:cubicBezTo>
                      <a:cubicBezTo>
                        <a:pt x="505750" y="349684"/>
                        <a:pt x="510745" y="348970"/>
                        <a:pt x="515740" y="350397"/>
                      </a:cubicBezTo>
                      <a:cubicBezTo>
                        <a:pt x="515740" y="350397"/>
                        <a:pt x="515740" y="350397"/>
                        <a:pt x="599229" y="378228"/>
                      </a:cubicBezTo>
                      <a:lnTo>
                        <a:pt x="597088" y="410340"/>
                      </a:lnTo>
                      <a:cubicBezTo>
                        <a:pt x="597088" y="410340"/>
                        <a:pt x="597088" y="410340"/>
                        <a:pt x="526444" y="386791"/>
                      </a:cubicBezTo>
                      <a:cubicBezTo>
                        <a:pt x="526444" y="386791"/>
                        <a:pt x="526444" y="386791"/>
                        <a:pt x="526444" y="499540"/>
                      </a:cubicBezTo>
                      <a:cubicBezTo>
                        <a:pt x="526444" y="504535"/>
                        <a:pt x="524303" y="509530"/>
                        <a:pt x="520022" y="512385"/>
                      </a:cubicBezTo>
                      <a:cubicBezTo>
                        <a:pt x="515740" y="515239"/>
                        <a:pt x="510745" y="515953"/>
                        <a:pt x="505750" y="514525"/>
                      </a:cubicBezTo>
                      <a:cubicBezTo>
                        <a:pt x="505750" y="514525"/>
                        <a:pt x="505750" y="514525"/>
                        <a:pt x="122559" y="386791"/>
                      </a:cubicBezTo>
                      <a:cubicBezTo>
                        <a:pt x="122559" y="386791"/>
                        <a:pt x="122559" y="386791"/>
                        <a:pt x="122559" y="654391"/>
                      </a:cubicBezTo>
                      <a:cubicBezTo>
                        <a:pt x="122559" y="654391"/>
                        <a:pt x="122559" y="654391"/>
                        <a:pt x="91875" y="654391"/>
                      </a:cubicBezTo>
                      <a:cubicBezTo>
                        <a:pt x="91875" y="654391"/>
                        <a:pt x="91875" y="654391"/>
                        <a:pt x="91162" y="365383"/>
                      </a:cubicBezTo>
                      <a:cubicBezTo>
                        <a:pt x="91162" y="360388"/>
                        <a:pt x="93302" y="355393"/>
                        <a:pt x="97584" y="352538"/>
                      </a:cubicBezTo>
                      <a:cubicBezTo>
                        <a:pt x="101865" y="349684"/>
                        <a:pt x="106860" y="348970"/>
                        <a:pt x="111855" y="350397"/>
                      </a:cubicBezTo>
                      <a:close/>
                      <a:moveTo>
                        <a:pt x="998305" y="0"/>
                      </a:moveTo>
                      <a:cubicBezTo>
                        <a:pt x="998305" y="0"/>
                        <a:pt x="998305" y="0"/>
                        <a:pt x="1158935" y="0"/>
                      </a:cubicBezTo>
                      <a:cubicBezTo>
                        <a:pt x="1165361" y="0"/>
                        <a:pt x="1170358" y="7136"/>
                        <a:pt x="1171072" y="15699"/>
                      </a:cubicBezTo>
                      <a:cubicBezTo>
                        <a:pt x="1171072" y="15699"/>
                        <a:pt x="1171072" y="15699"/>
                        <a:pt x="1208195" y="642224"/>
                      </a:cubicBezTo>
                      <a:cubicBezTo>
                        <a:pt x="1208909" y="652214"/>
                        <a:pt x="1203198" y="660777"/>
                        <a:pt x="1196059" y="660777"/>
                      </a:cubicBezTo>
                      <a:cubicBezTo>
                        <a:pt x="1196059" y="660777"/>
                        <a:pt x="1196059" y="660777"/>
                        <a:pt x="960468" y="660777"/>
                      </a:cubicBezTo>
                      <a:cubicBezTo>
                        <a:pt x="953329" y="660777"/>
                        <a:pt x="947617" y="652214"/>
                        <a:pt x="948331" y="642224"/>
                      </a:cubicBezTo>
                      <a:cubicBezTo>
                        <a:pt x="948331" y="642224"/>
                        <a:pt x="948331" y="642224"/>
                        <a:pt x="986169" y="15699"/>
                      </a:cubicBezTo>
                      <a:cubicBezTo>
                        <a:pt x="986169" y="7136"/>
                        <a:pt x="991880" y="0"/>
                        <a:pt x="99830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21" name="Freeform 14">
                  <a:extLst>
                    <a:ext uri="{FF2B5EF4-FFF2-40B4-BE49-F238E27FC236}">
                      <a16:creationId xmlns:a16="http://schemas.microsoft.com/office/drawing/2014/main" id="{B7618669-E299-45DB-BE84-D358B42ECE0C}"/>
                    </a:ext>
                  </a:extLst>
                </p:cNvPr>
                <p:cNvSpPr>
                  <a:spLocks noEditPoints="1"/>
                </p:cNvSpPr>
                <p:nvPr/>
              </p:nvSpPr>
              <p:spPr bwMode="auto">
                <a:xfrm>
                  <a:off x="6024581" y="2860364"/>
                  <a:ext cx="338518" cy="931940"/>
                </a:xfrm>
                <a:custGeom>
                  <a:avLst/>
                  <a:gdLst>
                    <a:gd name="T0" fmla="*/ 422 w 474"/>
                    <a:gd name="T1" fmla="*/ 1281 h 1306"/>
                    <a:gd name="T2" fmla="*/ 474 w 474"/>
                    <a:gd name="T3" fmla="*/ 410 h 1306"/>
                    <a:gd name="T4" fmla="*/ 451 w 474"/>
                    <a:gd name="T5" fmla="*/ 30 h 1306"/>
                    <a:gd name="T6" fmla="*/ 426 w 474"/>
                    <a:gd name="T7" fmla="*/ 0 h 1306"/>
                    <a:gd name="T8" fmla="*/ 102 w 474"/>
                    <a:gd name="T9" fmla="*/ 0 h 1306"/>
                    <a:gd name="T10" fmla="*/ 77 w 474"/>
                    <a:gd name="T11" fmla="*/ 30 h 1306"/>
                    <a:gd name="T12" fmla="*/ 1 w 474"/>
                    <a:gd name="T13" fmla="*/ 1270 h 1306"/>
                    <a:gd name="T14" fmla="*/ 26 w 474"/>
                    <a:gd name="T15" fmla="*/ 1306 h 1306"/>
                    <a:gd name="T16" fmla="*/ 425 w 474"/>
                    <a:gd name="T17" fmla="*/ 1306 h 1306"/>
                    <a:gd name="T18" fmla="*/ 422 w 474"/>
                    <a:gd name="T19" fmla="*/ 1281 h 1306"/>
                    <a:gd name="T20" fmla="*/ 361 w 474"/>
                    <a:gd name="T21" fmla="*/ 938 h 1306"/>
                    <a:gd name="T22" fmla="*/ 203 w 474"/>
                    <a:gd name="T23" fmla="*/ 1231 h 1306"/>
                    <a:gd name="T24" fmla="*/ 190 w 474"/>
                    <a:gd name="T25" fmla="*/ 1227 h 1306"/>
                    <a:gd name="T26" fmla="*/ 217 w 474"/>
                    <a:gd name="T27" fmla="*/ 1060 h 1306"/>
                    <a:gd name="T28" fmla="*/ 209 w 474"/>
                    <a:gd name="T29" fmla="*/ 1052 h 1306"/>
                    <a:gd name="T30" fmla="*/ 115 w 474"/>
                    <a:gd name="T31" fmla="*/ 1077 h 1306"/>
                    <a:gd name="T32" fmla="*/ 107 w 474"/>
                    <a:gd name="T33" fmla="*/ 1067 h 1306"/>
                    <a:gd name="T34" fmla="*/ 265 w 474"/>
                    <a:gd name="T35" fmla="*/ 774 h 1306"/>
                    <a:gd name="T36" fmla="*/ 278 w 474"/>
                    <a:gd name="T37" fmla="*/ 778 h 1306"/>
                    <a:gd name="T38" fmla="*/ 251 w 474"/>
                    <a:gd name="T39" fmla="*/ 946 h 1306"/>
                    <a:gd name="T40" fmla="*/ 259 w 474"/>
                    <a:gd name="T41" fmla="*/ 954 h 1306"/>
                    <a:gd name="T42" fmla="*/ 353 w 474"/>
                    <a:gd name="T43" fmla="*/ 928 h 1306"/>
                    <a:gd name="T44" fmla="*/ 361 w 474"/>
                    <a:gd name="T45" fmla="*/ 938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4" h="1306">
                      <a:moveTo>
                        <a:pt x="422" y="1281"/>
                      </a:moveTo>
                      <a:cubicBezTo>
                        <a:pt x="474" y="410"/>
                        <a:pt x="474" y="410"/>
                        <a:pt x="474" y="410"/>
                      </a:cubicBezTo>
                      <a:cubicBezTo>
                        <a:pt x="451" y="30"/>
                        <a:pt x="451" y="30"/>
                        <a:pt x="451" y="30"/>
                      </a:cubicBezTo>
                      <a:cubicBezTo>
                        <a:pt x="450" y="13"/>
                        <a:pt x="439" y="0"/>
                        <a:pt x="426" y="0"/>
                      </a:cubicBezTo>
                      <a:cubicBezTo>
                        <a:pt x="102" y="0"/>
                        <a:pt x="102" y="0"/>
                        <a:pt x="102" y="0"/>
                      </a:cubicBezTo>
                      <a:cubicBezTo>
                        <a:pt x="89" y="0"/>
                        <a:pt x="78" y="13"/>
                        <a:pt x="77" y="30"/>
                      </a:cubicBezTo>
                      <a:cubicBezTo>
                        <a:pt x="1" y="1270"/>
                        <a:pt x="1" y="1270"/>
                        <a:pt x="1" y="1270"/>
                      </a:cubicBezTo>
                      <a:cubicBezTo>
                        <a:pt x="0" y="1289"/>
                        <a:pt x="12" y="1306"/>
                        <a:pt x="26" y="1306"/>
                      </a:cubicBezTo>
                      <a:cubicBezTo>
                        <a:pt x="425" y="1306"/>
                        <a:pt x="425" y="1306"/>
                        <a:pt x="425" y="1306"/>
                      </a:cubicBezTo>
                      <a:cubicBezTo>
                        <a:pt x="422" y="1298"/>
                        <a:pt x="421" y="1290"/>
                        <a:pt x="422" y="1281"/>
                      </a:cubicBezTo>
                      <a:close/>
                      <a:moveTo>
                        <a:pt x="361" y="938"/>
                      </a:moveTo>
                      <a:cubicBezTo>
                        <a:pt x="361" y="938"/>
                        <a:pt x="361" y="938"/>
                        <a:pt x="203" y="1231"/>
                      </a:cubicBezTo>
                      <a:cubicBezTo>
                        <a:pt x="199" y="1238"/>
                        <a:pt x="189" y="1234"/>
                        <a:pt x="190" y="1227"/>
                      </a:cubicBezTo>
                      <a:cubicBezTo>
                        <a:pt x="190" y="1227"/>
                        <a:pt x="190" y="1227"/>
                        <a:pt x="217" y="1060"/>
                      </a:cubicBezTo>
                      <a:cubicBezTo>
                        <a:pt x="218" y="1054"/>
                        <a:pt x="214" y="1050"/>
                        <a:pt x="209" y="1052"/>
                      </a:cubicBezTo>
                      <a:cubicBezTo>
                        <a:pt x="209" y="1052"/>
                        <a:pt x="209" y="1052"/>
                        <a:pt x="115" y="1077"/>
                      </a:cubicBezTo>
                      <a:cubicBezTo>
                        <a:pt x="109" y="1079"/>
                        <a:pt x="104" y="1073"/>
                        <a:pt x="107" y="1067"/>
                      </a:cubicBezTo>
                      <a:cubicBezTo>
                        <a:pt x="107" y="1067"/>
                        <a:pt x="107" y="1067"/>
                        <a:pt x="265" y="774"/>
                      </a:cubicBezTo>
                      <a:cubicBezTo>
                        <a:pt x="269" y="767"/>
                        <a:pt x="279" y="771"/>
                        <a:pt x="278" y="778"/>
                      </a:cubicBezTo>
                      <a:cubicBezTo>
                        <a:pt x="278" y="778"/>
                        <a:pt x="278" y="778"/>
                        <a:pt x="251" y="946"/>
                      </a:cubicBezTo>
                      <a:cubicBezTo>
                        <a:pt x="250" y="951"/>
                        <a:pt x="255" y="956"/>
                        <a:pt x="259" y="954"/>
                      </a:cubicBezTo>
                      <a:cubicBezTo>
                        <a:pt x="259" y="954"/>
                        <a:pt x="259" y="954"/>
                        <a:pt x="353" y="928"/>
                      </a:cubicBezTo>
                      <a:cubicBezTo>
                        <a:pt x="359" y="927"/>
                        <a:pt x="364" y="932"/>
                        <a:pt x="361" y="9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203" name="Group 202">
            <a:extLst>
              <a:ext uri="{FF2B5EF4-FFF2-40B4-BE49-F238E27FC236}">
                <a16:creationId xmlns:a16="http://schemas.microsoft.com/office/drawing/2014/main" id="{95BBA7B7-8191-4CFC-BEC4-0DE25FE473CD}"/>
              </a:ext>
            </a:extLst>
          </p:cNvPr>
          <p:cNvGrpSpPr/>
          <p:nvPr/>
        </p:nvGrpSpPr>
        <p:grpSpPr>
          <a:xfrm>
            <a:off x="4374700" y="1122815"/>
            <a:ext cx="676323" cy="763575"/>
            <a:chOff x="4374700" y="1122815"/>
            <a:chExt cx="676323" cy="763575"/>
          </a:xfrm>
        </p:grpSpPr>
        <p:sp>
          <p:nvSpPr>
            <p:cNvPr id="177" name="Oval 176">
              <a:extLst>
                <a:ext uri="{FF2B5EF4-FFF2-40B4-BE49-F238E27FC236}">
                  <a16:creationId xmlns:a16="http://schemas.microsoft.com/office/drawing/2014/main" id="{09358FB8-911E-46E5-B3B9-E9C5401E2DC9}"/>
                </a:ext>
              </a:extLst>
            </p:cNvPr>
            <p:cNvSpPr/>
            <p:nvPr/>
          </p:nvSpPr>
          <p:spPr>
            <a:xfrm>
              <a:off x="4374700" y="1613257"/>
              <a:ext cx="676323" cy="273133"/>
            </a:xfrm>
            <a:prstGeom prst="ellipse">
              <a:avLst/>
            </a:prstGeom>
            <a:gradFill flip="none" rotWithShape="1">
              <a:gsLst>
                <a:gs pos="0">
                  <a:schemeClr val="bg2">
                    <a:lumMod val="10000"/>
                    <a:alpha val="70000"/>
                  </a:schemeClr>
                </a:gs>
                <a:gs pos="100000">
                  <a:schemeClr val="bg2">
                    <a:lumMod val="1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a:solidFill>
                  <a:schemeClr val="bg1"/>
                </a:solidFill>
              </a:endParaRPr>
            </a:p>
          </p:txBody>
        </p:sp>
        <p:sp>
          <p:nvSpPr>
            <p:cNvPr id="178" name="Oval 177">
              <a:extLst>
                <a:ext uri="{FF2B5EF4-FFF2-40B4-BE49-F238E27FC236}">
                  <a16:creationId xmlns:a16="http://schemas.microsoft.com/office/drawing/2014/main" id="{28C7A1AF-EF82-4AEA-A88C-AC3C9C13D8A9}"/>
                </a:ext>
              </a:extLst>
            </p:cNvPr>
            <p:cNvSpPr/>
            <p:nvPr/>
          </p:nvSpPr>
          <p:spPr>
            <a:xfrm>
              <a:off x="4374700" y="1122815"/>
              <a:ext cx="676323" cy="676324"/>
            </a:xfrm>
            <a:prstGeom prst="ellipse">
              <a:avLst/>
            </a:prstGeom>
            <a:gradFill flip="none" rotWithShape="1">
              <a:gsLst>
                <a:gs pos="0">
                  <a:schemeClr val="accent1"/>
                </a:gs>
                <a:gs pos="100000">
                  <a:schemeClr val="tx2"/>
                </a:gs>
              </a:gsLst>
              <a:lin ang="135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algn="ctr"/>
              <a:endParaRPr lang="en-US" b="1">
                <a:solidFill>
                  <a:srgbClr val="FFFFFF"/>
                </a:solidFill>
              </a:endParaRPr>
            </a:p>
          </p:txBody>
        </p:sp>
        <p:grpSp>
          <p:nvGrpSpPr>
            <p:cNvPr id="124" name="bcgIcons_Neighborhood">
              <a:extLst>
                <a:ext uri="{FF2B5EF4-FFF2-40B4-BE49-F238E27FC236}">
                  <a16:creationId xmlns:a16="http://schemas.microsoft.com/office/drawing/2014/main" id="{E286AC61-E4BE-40FC-8E71-C6030274ECBE}"/>
                </a:ext>
              </a:extLst>
            </p:cNvPr>
            <p:cNvGrpSpPr>
              <a:grpSpLocks noChangeAspect="1"/>
            </p:cNvGrpSpPr>
            <p:nvPr/>
          </p:nvGrpSpPr>
          <p:grpSpPr>
            <a:xfrm>
              <a:off x="4484246" y="1232362"/>
              <a:ext cx="455501" cy="457230"/>
              <a:chOff x="5272088" y="2305050"/>
              <a:chExt cx="1647825" cy="1644650"/>
            </a:xfrm>
          </p:grpSpPr>
          <p:sp>
            <p:nvSpPr>
              <p:cNvPr id="125" name="AutoShape 139">
                <a:extLst>
                  <a:ext uri="{FF2B5EF4-FFF2-40B4-BE49-F238E27FC236}">
                    <a16:creationId xmlns:a16="http://schemas.microsoft.com/office/drawing/2014/main" id="{27ED5CFA-9B5D-4DFF-B66E-688B6F66B0EE}"/>
                  </a:ext>
                </a:extLst>
              </p:cNvPr>
              <p:cNvSpPr>
                <a:spLocks noChangeAspect="1" noChangeArrowheads="1" noTextEdit="1"/>
              </p:cNvSpPr>
              <p:nvPr/>
            </p:nvSpPr>
            <p:spPr bwMode="auto">
              <a:xfrm>
                <a:off x="5272088" y="2305050"/>
                <a:ext cx="1647825"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6" name="Group 125">
                <a:extLst>
                  <a:ext uri="{FF2B5EF4-FFF2-40B4-BE49-F238E27FC236}">
                    <a16:creationId xmlns:a16="http://schemas.microsoft.com/office/drawing/2014/main" id="{D48005FF-DE59-4D02-B3B4-E1131BD750EE}"/>
                  </a:ext>
                </a:extLst>
              </p:cNvPr>
              <p:cNvGrpSpPr/>
              <p:nvPr/>
            </p:nvGrpSpPr>
            <p:grpSpPr>
              <a:xfrm>
                <a:off x="5476876" y="2382838"/>
                <a:ext cx="1238250" cy="1357313"/>
                <a:chOff x="5476876" y="2382838"/>
                <a:chExt cx="1238250" cy="1357313"/>
              </a:xfrm>
            </p:grpSpPr>
            <p:sp>
              <p:nvSpPr>
                <p:cNvPr id="127" name="Freeform 141">
                  <a:extLst>
                    <a:ext uri="{FF2B5EF4-FFF2-40B4-BE49-F238E27FC236}">
                      <a16:creationId xmlns:a16="http://schemas.microsoft.com/office/drawing/2014/main" id="{3C6C77F4-EFE8-4B6C-BF28-BAE7FFA6AF39}"/>
                    </a:ext>
                  </a:extLst>
                </p:cNvPr>
                <p:cNvSpPr>
                  <a:spLocks noEditPoints="1"/>
                </p:cNvSpPr>
                <p:nvPr/>
              </p:nvSpPr>
              <p:spPr bwMode="auto">
                <a:xfrm>
                  <a:off x="5476876" y="2382838"/>
                  <a:ext cx="1011238" cy="1357313"/>
                </a:xfrm>
                <a:custGeom>
                  <a:avLst/>
                  <a:gdLst>
                    <a:gd name="T0" fmla="*/ 932 w 1416"/>
                    <a:gd name="T1" fmla="*/ 707 h 1904"/>
                    <a:gd name="T2" fmla="*/ 925 w 1416"/>
                    <a:gd name="T3" fmla="*/ 1036 h 1904"/>
                    <a:gd name="T4" fmla="*/ 1094 w 1416"/>
                    <a:gd name="T5" fmla="*/ 1044 h 1904"/>
                    <a:gd name="T6" fmla="*/ 1101 w 1416"/>
                    <a:gd name="T7" fmla="*/ 715 h 1904"/>
                    <a:gd name="T8" fmla="*/ 634 w 1416"/>
                    <a:gd name="T9" fmla="*/ 876 h 1904"/>
                    <a:gd name="T10" fmla="*/ 802 w 1416"/>
                    <a:gd name="T11" fmla="*/ 883 h 1904"/>
                    <a:gd name="T12" fmla="*/ 809 w 1416"/>
                    <a:gd name="T13" fmla="*/ 714 h 1904"/>
                    <a:gd name="T14" fmla="*/ 642 w 1416"/>
                    <a:gd name="T15" fmla="*/ 707 h 1904"/>
                    <a:gd name="T16" fmla="*/ 634 w 1416"/>
                    <a:gd name="T17" fmla="*/ 876 h 1904"/>
                    <a:gd name="T18" fmla="*/ 932 w 1416"/>
                    <a:gd name="T19" fmla="*/ 434 h 1904"/>
                    <a:gd name="T20" fmla="*/ 925 w 1416"/>
                    <a:gd name="T21" fmla="*/ 603 h 1904"/>
                    <a:gd name="T22" fmla="*/ 1094 w 1416"/>
                    <a:gd name="T23" fmla="*/ 610 h 1904"/>
                    <a:gd name="T24" fmla="*/ 1101 w 1416"/>
                    <a:gd name="T25" fmla="*/ 441 h 1904"/>
                    <a:gd name="T26" fmla="*/ 642 w 1416"/>
                    <a:gd name="T27" fmla="*/ 610 h 1904"/>
                    <a:gd name="T28" fmla="*/ 809 w 1416"/>
                    <a:gd name="T29" fmla="*/ 603 h 1904"/>
                    <a:gd name="T30" fmla="*/ 802 w 1416"/>
                    <a:gd name="T31" fmla="*/ 434 h 1904"/>
                    <a:gd name="T32" fmla="*/ 634 w 1416"/>
                    <a:gd name="T33" fmla="*/ 441 h 1904"/>
                    <a:gd name="T34" fmla="*/ 642 w 1416"/>
                    <a:gd name="T35" fmla="*/ 610 h 1904"/>
                    <a:gd name="T36" fmla="*/ 872 w 1416"/>
                    <a:gd name="T37" fmla="*/ 2 h 1904"/>
                    <a:gd name="T38" fmla="*/ 636 w 1416"/>
                    <a:gd name="T39" fmla="*/ 198 h 1904"/>
                    <a:gd name="T40" fmla="*/ 321 w 1416"/>
                    <a:gd name="T41" fmla="*/ 470 h 1904"/>
                    <a:gd name="T42" fmla="*/ 318 w 1416"/>
                    <a:gd name="T43" fmla="*/ 583 h 1904"/>
                    <a:gd name="T44" fmla="*/ 432 w 1416"/>
                    <a:gd name="T45" fmla="*/ 501 h 1904"/>
                    <a:gd name="T46" fmla="*/ 862 w 1416"/>
                    <a:gd name="T47" fmla="*/ 129 h 1904"/>
                    <a:gd name="T48" fmla="*/ 1275 w 1416"/>
                    <a:gd name="T49" fmla="*/ 478 h 1904"/>
                    <a:gd name="T50" fmla="*/ 1404 w 1416"/>
                    <a:gd name="T51" fmla="*/ 589 h 1904"/>
                    <a:gd name="T52" fmla="*/ 1416 w 1416"/>
                    <a:gd name="T53" fmla="*/ 476 h 1904"/>
                    <a:gd name="T54" fmla="*/ 294 w 1416"/>
                    <a:gd name="T55" fmla="*/ 1320 h 1904"/>
                    <a:gd name="T56" fmla="*/ 326 w 1416"/>
                    <a:gd name="T57" fmla="*/ 1307 h 1904"/>
                    <a:gd name="T58" fmla="*/ 607 w 1416"/>
                    <a:gd name="T59" fmla="*/ 1463 h 1904"/>
                    <a:gd name="T60" fmla="*/ 621 w 1416"/>
                    <a:gd name="T61" fmla="*/ 1458 h 1904"/>
                    <a:gd name="T62" fmla="*/ 642 w 1416"/>
                    <a:gd name="T63" fmla="*/ 1445 h 1904"/>
                    <a:gd name="T64" fmla="*/ 628 w 1416"/>
                    <a:gd name="T65" fmla="*/ 1355 h 1904"/>
                    <a:gd name="T66" fmla="*/ 197 w 1416"/>
                    <a:gd name="T67" fmla="*/ 1355 h 1904"/>
                    <a:gd name="T68" fmla="*/ 294 w 1416"/>
                    <a:gd name="T69" fmla="*/ 1320 h 1904"/>
                    <a:gd name="T70" fmla="*/ 424 w 1416"/>
                    <a:gd name="T71" fmla="*/ 565 h 1904"/>
                    <a:gd name="T72" fmla="*/ 468 w 1416"/>
                    <a:gd name="T73" fmla="*/ 1044 h 1904"/>
                    <a:gd name="T74" fmla="*/ 460 w 1416"/>
                    <a:gd name="T75" fmla="*/ 534 h 1904"/>
                    <a:gd name="T76" fmla="*/ 1266 w 1416"/>
                    <a:gd name="T77" fmla="*/ 1044 h 1904"/>
                    <a:gd name="T78" fmla="*/ 1310 w 1416"/>
                    <a:gd name="T79" fmla="*/ 565 h 1904"/>
                    <a:gd name="T80" fmla="*/ 1266 w 1416"/>
                    <a:gd name="T81" fmla="*/ 527 h 1904"/>
                    <a:gd name="T82" fmla="*/ 290 w 1416"/>
                    <a:gd name="T83" fmla="*/ 1653 h 1904"/>
                    <a:gd name="T84" fmla="*/ 294 w 1416"/>
                    <a:gd name="T85" fmla="*/ 1703 h 1904"/>
                    <a:gd name="T86" fmla="*/ 311 w 1416"/>
                    <a:gd name="T87" fmla="*/ 1671 h 1904"/>
                    <a:gd name="T88" fmla="*/ 510 w 1416"/>
                    <a:gd name="T89" fmla="*/ 1671 h 1904"/>
                    <a:gd name="T90" fmla="*/ 527 w 1416"/>
                    <a:gd name="T91" fmla="*/ 1703 h 1904"/>
                    <a:gd name="T92" fmla="*/ 531 w 1416"/>
                    <a:gd name="T93" fmla="*/ 1653 h 1904"/>
                    <a:gd name="T94" fmla="*/ 628 w 1416"/>
                    <a:gd name="T95" fmla="*/ 1465 h 1904"/>
                    <a:gd name="T96" fmla="*/ 605 w 1416"/>
                    <a:gd name="T97" fmla="*/ 1475 h 1904"/>
                    <a:gd name="T98" fmla="*/ 578 w 1416"/>
                    <a:gd name="T99" fmla="*/ 1504 h 1904"/>
                    <a:gd name="T100" fmla="*/ 410 w 1416"/>
                    <a:gd name="T101" fmla="*/ 1695 h 1904"/>
                    <a:gd name="T102" fmla="*/ 242 w 1416"/>
                    <a:gd name="T103" fmla="*/ 1504 h 1904"/>
                    <a:gd name="T104" fmla="*/ 216 w 1416"/>
                    <a:gd name="T105" fmla="*/ 1475 h 1904"/>
                    <a:gd name="T106" fmla="*/ 193 w 1416"/>
                    <a:gd name="T107" fmla="*/ 1466 h 1904"/>
                    <a:gd name="T108" fmla="*/ 719 w 1416"/>
                    <a:gd name="T109" fmla="*/ 1745 h 1904"/>
                    <a:gd name="T110" fmla="*/ 531 w 1416"/>
                    <a:gd name="T111" fmla="*/ 1729 h 1904"/>
                    <a:gd name="T112" fmla="*/ 410 w 1416"/>
                    <a:gd name="T113" fmla="*/ 1779 h 1904"/>
                    <a:gd name="T114" fmla="*/ 290 w 1416"/>
                    <a:gd name="T115" fmla="*/ 1729 h 1904"/>
                    <a:gd name="T116" fmla="*/ 102 w 1416"/>
                    <a:gd name="T117" fmla="*/ 1745 h 1904"/>
                    <a:gd name="T118" fmla="*/ 12 w 1416"/>
                    <a:gd name="T119" fmla="*/ 1904 h 1904"/>
                    <a:gd name="T120" fmla="*/ 818 w 1416"/>
                    <a:gd name="T121" fmla="*/ 1890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16" h="1904">
                      <a:moveTo>
                        <a:pt x="1094" y="707"/>
                      </a:moveTo>
                      <a:cubicBezTo>
                        <a:pt x="932" y="707"/>
                        <a:pt x="932" y="707"/>
                        <a:pt x="932" y="707"/>
                      </a:cubicBezTo>
                      <a:cubicBezTo>
                        <a:pt x="929" y="707"/>
                        <a:pt x="925" y="711"/>
                        <a:pt x="925" y="715"/>
                      </a:cubicBezTo>
                      <a:cubicBezTo>
                        <a:pt x="925" y="1010"/>
                        <a:pt x="925" y="1034"/>
                        <a:pt x="925" y="1036"/>
                      </a:cubicBezTo>
                      <a:cubicBezTo>
                        <a:pt x="925" y="1040"/>
                        <a:pt x="929" y="1044"/>
                        <a:pt x="932" y="1044"/>
                      </a:cubicBezTo>
                      <a:cubicBezTo>
                        <a:pt x="1094" y="1044"/>
                        <a:pt x="1094" y="1044"/>
                        <a:pt x="1094" y="1044"/>
                      </a:cubicBezTo>
                      <a:cubicBezTo>
                        <a:pt x="1098" y="1044"/>
                        <a:pt x="1101" y="1040"/>
                        <a:pt x="1101" y="1036"/>
                      </a:cubicBezTo>
                      <a:cubicBezTo>
                        <a:pt x="1101" y="740"/>
                        <a:pt x="1101" y="716"/>
                        <a:pt x="1101" y="715"/>
                      </a:cubicBezTo>
                      <a:cubicBezTo>
                        <a:pt x="1101" y="711"/>
                        <a:pt x="1098" y="707"/>
                        <a:pt x="1094" y="707"/>
                      </a:cubicBezTo>
                      <a:close/>
                      <a:moveTo>
                        <a:pt x="634" y="876"/>
                      </a:moveTo>
                      <a:cubicBezTo>
                        <a:pt x="634" y="880"/>
                        <a:pt x="637" y="883"/>
                        <a:pt x="642" y="883"/>
                      </a:cubicBezTo>
                      <a:cubicBezTo>
                        <a:pt x="802" y="883"/>
                        <a:pt x="802" y="883"/>
                        <a:pt x="802" y="883"/>
                      </a:cubicBezTo>
                      <a:cubicBezTo>
                        <a:pt x="805" y="883"/>
                        <a:pt x="809" y="880"/>
                        <a:pt x="809" y="876"/>
                      </a:cubicBezTo>
                      <a:cubicBezTo>
                        <a:pt x="809" y="714"/>
                        <a:pt x="809" y="714"/>
                        <a:pt x="809" y="714"/>
                      </a:cubicBezTo>
                      <a:cubicBezTo>
                        <a:pt x="809" y="711"/>
                        <a:pt x="805" y="707"/>
                        <a:pt x="802" y="707"/>
                      </a:cubicBezTo>
                      <a:cubicBezTo>
                        <a:pt x="642" y="707"/>
                        <a:pt x="642" y="707"/>
                        <a:pt x="642" y="707"/>
                      </a:cubicBezTo>
                      <a:cubicBezTo>
                        <a:pt x="637" y="707"/>
                        <a:pt x="634" y="711"/>
                        <a:pt x="634" y="714"/>
                      </a:cubicBezTo>
                      <a:cubicBezTo>
                        <a:pt x="634" y="876"/>
                        <a:pt x="634" y="876"/>
                        <a:pt x="634" y="876"/>
                      </a:cubicBezTo>
                      <a:close/>
                      <a:moveTo>
                        <a:pt x="1094" y="434"/>
                      </a:moveTo>
                      <a:cubicBezTo>
                        <a:pt x="932" y="434"/>
                        <a:pt x="932" y="434"/>
                        <a:pt x="932" y="434"/>
                      </a:cubicBezTo>
                      <a:cubicBezTo>
                        <a:pt x="929" y="434"/>
                        <a:pt x="925" y="437"/>
                        <a:pt x="925" y="441"/>
                      </a:cubicBezTo>
                      <a:cubicBezTo>
                        <a:pt x="925" y="603"/>
                        <a:pt x="925" y="603"/>
                        <a:pt x="925" y="603"/>
                      </a:cubicBezTo>
                      <a:cubicBezTo>
                        <a:pt x="925" y="607"/>
                        <a:pt x="929" y="610"/>
                        <a:pt x="932" y="610"/>
                      </a:cubicBezTo>
                      <a:cubicBezTo>
                        <a:pt x="1094" y="610"/>
                        <a:pt x="1094" y="610"/>
                        <a:pt x="1094" y="610"/>
                      </a:cubicBezTo>
                      <a:cubicBezTo>
                        <a:pt x="1098" y="610"/>
                        <a:pt x="1101" y="607"/>
                        <a:pt x="1101" y="603"/>
                      </a:cubicBezTo>
                      <a:cubicBezTo>
                        <a:pt x="1101" y="441"/>
                        <a:pt x="1101" y="441"/>
                        <a:pt x="1101" y="441"/>
                      </a:cubicBezTo>
                      <a:cubicBezTo>
                        <a:pt x="1101" y="437"/>
                        <a:pt x="1098" y="434"/>
                        <a:pt x="1094" y="434"/>
                      </a:cubicBezTo>
                      <a:close/>
                      <a:moveTo>
                        <a:pt x="642" y="610"/>
                      </a:moveTo>
                      <a:cubicBezTo>
                        <a:pt x="802" y="610"/>
                        <a:pt x="802" y="610"/>
                        <a:pt x="802" y="610"/>
                      </a:cubicBezTo>
                      <a:cubicBezTo>
                        <a:pt x="805" y="610"/>
                        <a:pt x="809" y="607"/>
                        <a:pt x="809" y="603"/>
                      </a:cubicBezTo>
                      <a:cubicBezTo>
                        <a:pt x="809" y="441"/>
                        <a:pt x="809" y="441"/>
                        <a:pt x="809" y="441"/>
                      </a:cubicBezTo>
                      <a:cubicBezTo>
                        <a:pt x="809" y="437"/>
                        <a:pt x="805" y="434"/>
                        <a:pt x="802" y="434"/>
                      </a:cubicBezTo>
                      <a:cubicBezTo>
                        <a:pt x="642" y="434"/>
                        <a:pt x="642" y="434"/>
                        <a:pt x="642" y="434"/>
                      </a:cubicBezTo>
                      <a:cubicBezTo>
                        <a:pt x="637" y="434"/>
                        <a:pt x="634" y="437"/>
                        <a:pt x="634" y="441"/>
                      </a:cubicBezTo>
                      <a:cubicBezTo>
                        <a:pt x="634" y="603"/>
                        <a:pt x="634" y="603"/>
                        <a:pt x="634" y="603"/>
                      </a:cubicBezTo>
                      <a:cubicBezTo>
                        <a:pt x="634" y="607"/>
                        <a:pt x="637" y="610"/>
                        <a:pt x="642" y="610"/>
                      </a:cubicBezTo>
                      <a:close/>
                      <a:moveTo>
                        <a:pt x="1413" y="470"/>
                      </a:moveTo>
                      <a:cubicBezTo>
                        <a:pt x="872" y="2"/>
                        <a:pt x="872" y="2"/>
                        <a:pt x="872" y="2"/>
                      </a:cubicBezTo>
                      <a:cubicBezTo>
                        <a:pt x="869" y="0"/>
                        <a:pt x="865" y="0"/>
                        <a:pt x="862" y="2"/>
                      </a:cubicBezTo>
                      <a:cubicBezTo>
                        <a:pt x="636" y="198"/>
                        <a:pt x="636" y="198"/>
                        <a:pt x="636" y="198"/>
                      </a:cubicBezTo>
                      <a:cubicBezTo>
                        <a:pt x="533" y="286"/>
                        <a:pt x="533" y="286"/>
                        <a:pt x="533" y="286"/>
                      </a:cubicBezTo>
                      <a:cubicBezTo>
                        <a:pt x="321" y="470"/>
                        <a:pt x="321" y="470"/>
                        <a:pt x="321" y="470"/>
                      </a:cubicBezTo>
                      <a:cubicBezTo>
                        <a:pt x="319" y="471"/>
                        <a:pt x="318" y="473"/>
                        <a:pt x="318" y="476"/>
                      </a:cubicBezTo>
                      <a:cubicBezTo>
                        <a:pt x="318" y="583"/>
                        <a:pt x="318" y="583"/>
                        <a:pt x="318" y="583"/>
                      </a:cubicBezTo>
                      <a:cubicBezTo>
                        <a:pt x="318" y="590"/>
                        <a:pt x="326" y="593"/>
                        <a:pt x="330" y="589"/>
                      </a:cubicBezTo>
                      <a:cubicBezTo>
                        <a:pt x="432" y="501"/>
                        <a:pt x="432" y="501"/>
                        <a:pt x="432" y="501"/>
                      </a:cubicBezTo>
                      <a:cubicBezTo>
                        <a:pt x="459" y="478"/>
                        <a:pt x="459" y="478"/>
                        <a:pt x="459" y="478"/>
                      </a:cubicBezTo>
                      <a:cubicBezTo>
                        <a:pt x="862" y="129"/>
                        <a:pt x="862" y="129"/>
                        <a:pt x="862" y="129"/>
                      </a:cubicBezTo>
                      <a:cubicBezTo>
                        <a:pt x="865" y="127"/>
                        <a:pt x="869" y="127"/>
                        <a:pt x="872" y="129"/>
                      </a:cubicBezTo>
                      <a:cubicBezTo>
                        <a:pt x="1275" y="478"/>
                        <a:pt x="1275" y="478"/>
                        <a:pt x="1275" y="478"/>
                      </a:cubicBezTo>
                      <a:cubicBezTo>
                        <a:pt x="1302" y="501"/>
                        <a:pt x="1302" y="501"/>
                        <a:pt x="1302" y="501"/>
                      </a:cubicBezTo>
                      <a:cubicBezTo>
                        <a:pt x="1404" y="589"/>
                        <a:pt x="1404" y="589"/>
                        <a:pt x="1404" y="589"/>
                      </a:cubicBezTo>
                      <a:cubicBezTo>
                        <a:pt x="1408" y="593"/>
                        <a:pt x="1416" y="590"/>
                        <a:pt x="1416" y="583"/>
                      </a:cubicBezTo>
                      <a:cubicBezTo>
                        <a:pt x="1416" y="476"/>
                        <a:pt x="1416" y="476"/>
                        <a:pt x="1416" y="476"/>
                      </a:cubicBezTo>
                      <a:cubicBezTo>
                        <a:pt x="1416" y="473"/>
                        <a:pt x="1415" y="471"/>
                        <a:pt x="1413" y="470"/>
                      </a:cubicBezTo>
                      <a:close/>
                      <a:moveTo>
                        <a:pt x="294" y="1320"/>
                      </a:moveTo>
                      <a:cubicBezTo>
                        <a:pt x="297" y="1317"/>
                        <a:pt x="301" y="1314"/>
                        <a:pt x="306" y="1313"/>
                      </a:cubicBezTo>
                      <a:cubicBezTo>
                        <a:pt x="312" y="1309"/>
                        <a:pt x="319" y="1307"/>
                        <a:pt x="326" y="1307"/>
                      </a:cubicBezTo>
                      <a:cubicBezTo>
                        <a:pt x="455" y="1314"/>
                        <a:pt x="552" y="1451"/>
                        <a:pt x="577" y="1464"/>
                      </a:cubicBezTo>
                      <a:cubicBezTo>
                        <a:pt x="585" y="1470"/>
                        <a:pt x="596" y="1468"/>
                        <a:pt x="607" y="1463"/>
                      </a:cubicBezTo>
                      <a:cubicBezTo>
                        <a:pt x="609" y="1463"/>
                        <a:pt x="611" y="1462"/>
                        <a:pt x="612" y="1461"/>
                      </a:cubicBezTo>
                      <a:cubicBezTo>
                        <a:pt x="621" y="1458"/>
                        <a:pt x="621" y="1458"/>
                        <a:pt x="621" y="1458"/>
                      </a:cubicBezTo>
                      <a:cubicBezTo>
                        <a:pt x="623" y="1457"/>
                        <a:pt x="625" y="1456"/>
                        <a:pt x="627" y="1455"/>
                      </a:cubicBezTo>
                      <a:cubicBezTo>
                        <a:pt x="636" y="1449"/>
                        <a:pt x="642" y="1445"/>
                        <a:pt x="642" y="1445"/>
                      </a:cubicBezTo>
                      <a:cubicBezTo>
                        <a:pt x="630" y="1426"/>
                        <a:pt x="626" y="1409"/>
                        <a:pt x="627" y="1397"/>
                      </a:cubicBezTo>
                      <a:cubicBezTo>
                        <a:pt x="629" y="1384"/>
                        <a:pt x="628" y="1369"/>
                        <a:pt x="628" y="1355"/>
                      </a:cubicBezTo>
                      <a:cubicBezTo>
                        <a:pt x="628" y="1232"/>
                        <a:pt x="535" y="1133"/>
                        <a:pt x="412" y="1133"/>
                      </a:cubicBezTo>
                      <a:cubicBezTo>
                        <a:pt x="291" y="1133"/>
                        <a:pt x="197" y="1232"/>
                        <a:pt x="197" y="1355"/>
                      </a:cubicBezTo>
                      <a:cubicBezTo>
                        <a:pt x="197" y="1382"/>
                        <a:pt x="201" y="1436"/>
                        <a:pt x="209" y="1446"/>
                      </a:cubicBezTo>
                      <a:cubicBezTo>
                        <a:pt x="230" y="1466"/>
                        <a:pt x="233" y="1361"/>
                        <a:pt x="294" y="1320"/>
                      </a:cubicBezTo>
                      <a:close/>
                      <a:moveTo>
                        <a:pt x="460" y="534"/>
                      </a:moveTo>
                      <a:cubicBezTo>
                        <a:pt x="424" y="565"/>
                        <a:pt x="424" y="565"/>
                        <a:pt x="424" y="565"/>
                      </a:cubicBezTo>
                      <a:cubicBezTo>
                        <a:pt x="424" y="1044"/>
                        <a:pt x="424" y="1044"/>
                        <a:pt x="424" y="1044"/>
                      </a:cubicBezTo>
                      <a:cubicBezTo>
                        <a:pt x="468" y="1044"/>
                        <a:pt x="468" y="1044"/>
                        <a:pt x="468" y="1044"/>
                      </a:cubicBezTo>
                      <a:cubicBezTo>
                        <a:pt x="468" y="527"/>
                        <a:pt x="468" y="527"/>
                        <a:pt x="468" y="527"/>
                      </a:cubicBezTo>
                      <a:lnTo>
                        <a:pt x="460" y="534"/>
                      </a:lnTo>
                      <a:close/>
                      <a:moveTo>
                        <a:pt x="1266" y="527"/>
                      </a:moveTo>
                      <a:cubicBezTo>
                        <a:pt x="1266" y="1044"/>
                        <a:pt x="1266" y="1044"/>
                        <a:pt x="1266" y="1044"/>
                      </a:cubicBezTo>
                      <a:cubicBezTo>
                        <a:pt x="1310" y="1044"/>
                        <a:pt x="1310" y="1044"/>
                        <a:pt x="1310" y="1044"/>
                      </a:cubicBezTo>
                      <a:cubicBezTo>
                        <a:pt x="1310" y="565"/>
                        <a:pt x="1310" y="565"/>
                        <a:pt x="1310" y="565"/>
                      </a:cubicBezTo>
                      <a:cubicBezTo>
                        <a:pt x="1274" y="534"/>
                        <a:pt x="1274" y="534"/>
                        <a:pt x="1274" y="534"/>
                      </a:cubicBezTo>
                      <a:lnTo>
                        <a:pt x="1266" y="527"/>
                      </a:lnTo>
                      <a:close/>
                      <a:moveTo>
                        <a:pt x="225" y="1515"/>
                      </a:moveTo>
                      <a:cubicBezTo>
                        <a:pt x="235" y="1541"/>
                        <a:pt x="270" y="1628"/>
                        <a:pt x="290" y="1653"/>
                      </a:cubicBezTo>
                      <a:cubicBezTo>
                        <a:pt x="290" y="1698"/>
                        <a:pt x="290" y="1698"/>
                        <a:pt x="290" y="1698"/>
                      </a:cubicBezTo>
                      <a:cubicBezTo>
                        <a:pt x="294" y="1703"/>
                        <a:pt x="294" y="1703"/>
                        <a:pt x="294" y="1703"/>
                      </a:cubicBezTo>
                      <a:cubicBezTo>
                        <a:pt x="295" y="1704"/>
                        <a:pt x="299" y="1711"/>
                        <a:pt x="311" y="1721"/>
                      </a:cubicBezTo>
                      <a:cubicBezTo>
                        <a:pt x="311" y="1671"/>
                        <a:pt x="311" y="1671"/>
                        <a:pt x="311" y="1671"/>
                      </a:cubicBezTo>
                      <a:cubicBezTo>
                        <a:pt x="337" y="1691"/>
                        <a:pt x="381" y="1715"/>
                        <a:pt x="410" y="1715"/>
                      </a:cubicBezTo>
                      <a:cubicBezTo>
                        <a:pt x="440" y="1715"/>
                        <a:pt x="484" y="1691"/>
                        <a:pt x="510" y="1671"/>
                      </a:cubicBezTo>
                      <a:cubicBezTo>
                        <a:pt x="510" y="1721"/>
                        <a:pt x="510" y="1721"/>
                        <a:pt x="510" y="1721"/>
                      </a:cubicBezTo>
                      <a:cubicBezTo>
                        <a:pt x="521" y="1711"/>
                        <a:pt x="526" y="1704"/>
                        <a:pt x="527" y="1703"/>
                      </a:cubicBezTo>
                      <a:cubicBezTo>
                        <a:pt x="531" y="1698"/>
                        <a:pt x="531" y="1698"/>
                        <a:pt x="531" y="1698"/>
                      </a:cubicBezTo>
                      <a:cubicBezTo>
                        <a:pt x="531" y="1653"/>
                        <a:pt x="531" y="1653"/>
                        <a:pt x="531" y="1653"/>
                      </a:cubicBezTo>
                      <a:cubicBezTo>
                        <a:pt x="551" y="1628"/>
                        <a:pt x="586" y="1541"/>
                        <a:pt x="596" y="1515"/>
                      </a:cubicBezTo>
                      <a:cubicBezTo>
                        <a:pt x="619" y="1501"/>
                        <a:pt x="626" y="1475"/>
                        <a:pt x="628" y="1465"/>
                      </a:cubicBezTo>
                      <a:cubicBezTo>
                        <a:pt x="628" y="1463"/>
                        <a:pt x="628" y="1463"/>
                        <a:pt x="628" y="1463"/>
                      </a:cubicBezTo>
                      <a:cubicBezTo>
                        <a:pt x="605" y="1475"/>
                        <a:pt x="605" y="1475"/>
                        <a:pt x="605" y="1475"/>
                      </a:cubicBezTo>
                      <a:cubicBezTo>
                        <a:pt x="601" y="1484"/>
                        <a:pt x="595" y="1493"/>
                        <a:pt x="583" y="1499"/>
                      </a:cubicBezTo>
                      <a:cubicBezTo>
                        <a:pt x="581" y="1500"/>
                        <a:pt x="579" y="1502"/>
                        <a:pt x="578" y="1504"/>
                      </a:cubicBezTo>
                      <a:cubicBezTo>
                        <a:pt x="560" y="1551"/>
                        <a:pt x="526" y="1631"/>
                        <a:pt x="513" y="1643"/>
                      </a:cubicBezTo>
                      <a:cubicBezTo>
                        <a:pt x="493" y="1661"/>
                        <a:pt x="439" y="1695"/>
                        <a:pt x="410" y="1695"/>
                      </a:cubicBezTo>
                      <a:cubicBezTo>
                        <a:pt x="381" y="1695"/>
                        <a:pt x="328" y="1661"/>
                        <a:pt x="308" y="1643"/>
                      </a:cubicBezTo>
                      <a:cubicBezTo>
                        <a:pt x="295" y="1631"/>
                        <a:pt x="261" y="1551"/>
                        <a:pt x="242" y="1504"/>
                      </a:cubicBezTo>
                      <a:cubicBezTo>
                        <a:pt x="242" y="1502"/>
                        <a:pt x="240" y="1500"/>
                        <a:pt x="238" y="1499"/>
                      </a:cubicBezTo>
                      <a:cubicBezTo>
                        <a:pt x="226" y="1493"/>
                        <a:pt x="220" y="1483"/>
                        <a:pt x="216" y="1475"/>
                      </a:cubicBezTo>
                      <a:cubicBezTo>
                        <a:pt x="193" y="1463"/>
                        <a:pt x="193" y="1463"/>
                        <a:pt x="193" y="1463"/>
                      </a:cubicBezTo>
                      <a:cubicBezTo>
                        <a:pt x="193" y="1466"/>
                        <a:pt x="193" y="1466"/>
                        <a:pt x="193" y="1466"/>
                      </a:cubicBezTo>
                      <a:cubicBezTo>
                        <a:pt x="196" y="1478"/>
                        <a:pt x="202" y="1502"/>
                        <a:pt x="225" y="1515"/>
                      </a:cubicBezTo>
                      <a:close/>
                      <a:moveTo>
                        <a:pt x="719" y="1745"/>
                      </a:moveTo>
                      <a:cubicBezTo>
                        <a:pt x="658" y="1716"/>
                        <a:pt x="543" y="1715"/>
                        <a:pt x="543" y="1715"/>
                      </a:cubicBezTo>
                      <a:cubicBezTo>
                        <a:pt x="543" y="1715"/>
                        <a:pt x="539" y="1721"/>
                        <a:pt x="531" y="1729"/>
                      </a:cubicBezTo>
                      <a:cubicBezTo>
                        <a:pt x="530" y="1730"/>
                        <a:pt x="529" y="1730"/>
                        <a:pt x="529" y="1731"/>
                      </a:cubicBezTo>
                      <a:cubicBezTo>
                        <a:pt x="508" y="1750"/>
                        <a:pt x="469" y="1778"/>
                        <a:pt x="410" y="1779"/>
                      </a:cubicBezTo>
                      <a:cubicBezTo>
                        <a:pt x="352" y="1778"/>
                        <a:pt x="312" y="1750"/>
                        <a:pt x="292" y="1731"/>
                      </a:cubicBezTo>
                      <a:cubicBezTo>
                        <a:pt x="292" y="1730"/>
                        <a:pt x="291" y="1730"/>
                        <a:pt x="290" y="1729"/>
                      </a:cubicBezTo>
                      <a:cubicBezTo>
                        <a:pt x="282" y="1721"/>
                        <a:pt x="278" y="1715"/>
                        <a:pt x="278" y="1715"/>
                      </a:cubicBezTo>
                      <a:cubicBezTo>
                        <a:pt x="278" y="1715"/>
                        <a:pt x="163" y="1716"/>
                        <a:pt x="102" y="1745"/>
                      </a:cubicBezTo>
                      <a:cubicBezTo>
                        <a:pt x="51" y="1768"/>
                        <a:pt x="15" y="1856"/>
                        <a:pt x="3" y="1890"/>
                      </a:cubicBezTo>
                      <a:cubicBezTo>
                        <a:pt x="0" y="1897"/>
                        <a:pt x="5" y="1904"/>
                        <a:pt x="12" y="1904"/>
                      </a:cubicBezTo>
                      <a:cubicBezTo>
                        <a:pt x="809" y="1904"/>
                        <a:pt x="809" y="1904"/>
                        <a:pt x="809" y="1904"/>
                      </a:cubicBezTo>
                      <a:cubicBezTo>
                        <a:pt x="816" y="1904"/>
                        <a:pt x="821" y="1897"/>
                        <a:pt x="818" y="1890"/>
                      </a:cubicBezTo>
                      <a:cubicBezTo>
                        <a:pt x="806" y="1856"/>
                        <a:pt x="770" y="1768"/>
                        <a:pt x="719" y="17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42">
                  <a:extLst>
                    <a:ext uri="{FF2B5EF4-FFF2-40B4-BE49-F238E27FC236}">
                      <a16:creationId xmlns:a16="http://schemas.microsoft.com/office/drawing/2014/main" id="{D2F93713-27EF-4A49-B8E6-44A547809DCE}"/>
                    </a:ext>
                  </a:extLst>
                </p:cNvPr>
                <p:cNvSpPr>
                  <a:spLocks noEditPoints="1"/>
                </p:cNvSpPr>
                <p:nvPr/>
              </p:nvSpPr>
              <p:spPr bwMode="auto">
                <a:xfrm>
                  <a:off x="5753101" y="2439988"/>
                  <a:ext cx="962025" cy="1300163"/>
                </a:xfrm>
                <a:custGeom>
                  <a:avLst/>
                  <a:gdLst>
                    <a:gd name="T0" fmla="*/ 736 w 1348"/>
                    <a:gd name="T1" fmla="*/ 1367 h 1825"/>
                    <a:gd name="T2" fmla="*/ 833 w 1348"/>
                    <a:gd name="T3" fmla="*/ 1234 h 1825"/>
                    <a:gd name="T4" fmla="*/ 1104 w 1348"/>
                    <a:gd name="T5" fmla="*/ 1385 h 1825"/>
                    <a:gd name="T6" fmla="*/ 1139 w 1348"/>
                    <a:gd name="T7" fmla="*/ 1382 h 1825"/>
                    <a:gd name="T8" fmla="*/ 1154 w 1348"/>
                    <a:gd name="T9" fmla="*/ 1376 h 1825"/>
                    <a:gd name="T10" fmla="*/ 1154 w 1348"/>
                    <a:gd name="T11" fmla="*/ 1318 h 1825"/>
                    <a:gd name="T12" fmla="*/ 939 w 1348"/>
                    <a:gd name="T13" fmla="*/ 1054 h 1825"/>
                    <a:gd name="T14" fmla="*/ 1054 w 1348"/>
                    <a:gd name="T15" fmla="*/ 1624 h 1825"/>
                    <a:gd name="T16" fmla="*/ 1058 w 1348"/>
                    <a:gd name="T17" fmla="*/ 1574 h 1825"/>
                    <a:gd name="T18" fmla="*/ 1155 w 1348"/>
                    <a:gd name="T19" fmla="*/ 1386 h 1825"/>
                    <a:gd name="T20" fmla="*/ 1132 w 1348"/>
                    <a:gd name="T21" fmla="*/ 1396 h 1825"/>
                    <a:gd name="T22" fmla="*/ 1106 w 1348"/>
                    <a:gd name="T23" fmla="*/ 1425 h 1825"/>
                    <a:gd name="T24" fmla="*/ 938 w 1348"/>
                    <a:gd name="T25" fmla="*/ 1616 h 1825"/>
                    <a:gd name="T26" fmla="*/ 770 w 1348"/>
                    <a:gd name="T27" fmla="*/ 1425 h 1825"/>
                    <a:gd name="T28" fmla="*/ 743 w 1348"/>
                    <a:gd name="T29" fmla="*/ 1396 h 1825"/>
                    <a:gd name="T30" fmla="*/ 720 w 1348"/>
                    <a:gd name="T31" fmla="*/ 1387 h 1825"/>
                    <a:gd name="T32" fmla="*/ 817 w 1348"/>
                    <a:gd name="T33" fmla="*/ 1574 h 1825"/>
                    <a:gd name="T34" fmla="*/ 821 w 1348"/>
                    <a:gd name="T35" fmla="*/ 1624 h 1825"/>
                    <a:gd name="T36" fmla="*/ 838 w 1348"/>
                    <a:gd name="T37" fmla="*/ 1592 h 1825"/>
                    <a:gd name="T38" fmla="*/ 1037 w 1348"/>
                    <a:gd name="T39" fmla="*/ 1592 h 1825"/>
                    <a:gd name="T40" fmla="*/ 1054 w 1348"/>
                    <a:gd name="T41" fmla="*/ 1624 h 1825"/>
                    <a:gd name="T42" fmla="*/ 1246 w 1348"/>
                    <a:gd name="T43" fmla="*/ 1666 h 1825"/>
                    <a:gd name="T44" fmla="*/ 1058 w 1348"/>
                    <a:gd name="T45" fmla="*/ 1650 h 1825"/>
                    <a:gd name="T46" fmla="*/ 938 w 1348"/>
                    <a:gd name="T47" fmla="*/ 1700 h 1825"/>
                    <a:gd name="T48" fmla="*/ 817 w 1348"/>
                    <a:gd name="T49" fmla="*/ 1650 h 1825"/>
                    <a:gd name="T50" fmla="*/ 629 w 1348"/>
                    <a:gd name="T51" fmla="*/ 1666 h 1825"/>
                    <a:gd name="T52" fmla="*/ 539 w 1348"/>
                    <a:gd name="T53" fmla="*/ 1825 h 1825"/>
                    <a:gd name="T54" fmla="*/ 1345 w 1348"/>
                    <a:gd name="T55" fmla="*/ 1811 h 1825"/>
                    <a:gd name="T56" fmla="*/ 250 w 1348"/>
                    <a:gd name="T57" fmla="*/ 7 h 1825"/>
                    <a:gd name="T58" fmla="*/ 153 w 1348"/>
                    <a:gd name="T59" fmla="*/ 0 h 1825"/>
                    <a:gd name="T60" fmla="*/ 146 w 1348"/>
                    <a:gd name="T61" fmla="*/ 150 h 1825"/>
                    <a:gd name="T62" fmla="*/ 250 w 1348"/>
                    <a:gd name="T63" fmla="*/ 61 h 1825"/>
                    <a:gd name="T64" fmla="*/ 939 w 1348"/>
                    <a:gd name="T65" fmla="*/ 1010 h 1825"/>
                    <a:gd name="T66" fmla="*/ 954 w 1348"/>
                    <a:gd name="T67" fmla="*/ 1009 h 1825"/>
                    <a:gd name="T68" fmla="*/ 885 w 1348"/>
                    <a:gd name="T69" fmla="*/ 1009 h 1825"/>
                    <a:gd name="T70" fmla="*/ 45 w 1348"/>
                    <a:gd name="T71" fmla="*/ 1009 h 1825"/>
                    <a:gd name="T72" fmla="*/ 0 w 1348"/>
                    <a:gd name="T73" fmla="*/ 1011 h 1825"/>
                    <a:gd name="T74" fmla="*/ 266 w 1348"/>
                    <a:gd name="T75" fmla="*/ 1173 h 1825"/>
                    <a:gd name="T76" fmla="*/ 754 w 1348"/>
                    <a:gd name="T77" fmla="*/ 1088 h 1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48" h="1825">
                      <a:moveTo>
                        <a:pt x="724" y="1276"/>
                      </a:moveTo>
                      <a:cubicBezTo>
                        <a:pt x="724" y="1303"/>
                        <a:pt x="729" y="1357"/>
                        <a:pt x="736" y="1367"/>
                      </a:cubicBezTo>
                      <a:cubicBezTo>
                        <a:pt x="757" y="1387"/>
                        <a:pt x="760" y="1282"/>
                        <a:pt x="821" y="1241"/>
                      </a:cubicBezTo>
                      <a:cubicBezTo>
                        <a:pt x="824" y="1238"/>
                        <a:pt x="828" y="1235"/>
                        <a:pt x="833" y="1234"/>
                      </a:cubicBezTo>
                      <a:cubicBezTo>
                        <a:pt x="840" y="1230"/>
                        <a:pt x="846" y="1228"/>
                        <a:pt x="854" y="1228"/>
                      </a:cubicBezTo>
                      <a:cubicBezTo>
                        <a:pt x="982" y="1235"/>
                        <a:pt x="1079" y="1372"/>
                        <a:pt x="1104" y="1385"/>
                      </a:cubicBezTo>
                      <a:cubicBezTo>
                        <a:pt x="1112" y="1391"/>
                        <a:pt x="1123" y="1389"/>
                        <a:pt x="1134" y="1384"/>
                      </a:cubicBezTo>
                      <a:cubicBezTo>
                        <a:pt x="1136" y="1384"/>
                        <a:pt x="1138" y="1383"/>
                        <a:pt x="1139" y="1382"/>
                      </a:cubicBezTo>
                      <a:cubicBezTo>
                        <a:pt x="1148" y="1379"/>
                        <a:pt x="1148" y="1379"/>
                        <a:pt x="1148" y="1379"/>
                      </a:cubicBezTo>
                      <a:cubicBezTo>
                        <a:pt x="1150" y="1378"/>
                        <a:pt x="1152" y="1377"/>
                        <a:pt x="1154" y="1376"/>
                      </a:cubicBezTo>
                      <a:cubicBezTo>
                        <a:pt x="1163" y="1370"/>
                        <a:pt x="1169" y="1366"/>
                        <a:pt x="1169" y="1366"/>
                      </a:cubicBezTo>
                      <a:cubicBezTo>
                        <a:pt x="1157" y="1347"/>
                        <a:pt x="1153" y="1330"/>
                        <a:pt x="1154" y="1318"/>
                      </a:cubicBezTo>
                      <a:cubicBezTo>
                        <a:pt x="1156" y="1305"/>
                        <a:pt x="1155" y="1290"/>
                        <a:pt x="1155" y="1276"/>
                      </a:cubicBezTo>
                      <a:cubicBezTo>
                        <a:pt x="1155" y="1153"/>
                        <a:pt x="1062" y="1054"/>
                        <a:pt x="939" y="1054"/>
                      </a:cubicBezTo>
                      <a:cubicBezTo>
                        <a:pt x="818" y="1054"/>
                        <a:pt x="724" y="1153"/>
                        <a:pt x="724" y="1276"/>
                      </a:cubicBezTo>
                      <a:close/>
                      <a:moveTo>
                        <a:pt x="1054" y="1624"/>
                      </a:moveTo>
                      <a:cubicBezTo>
                        <a:pt x="1058" y="1619"/>
                        <a:pt x="1058" y="1619"/>
                        <a:pt x="1058" y="1619"/>
                      </a:cubicBezTo>
                      <a:cubicBezTo>
                        <a:pt x="1058" y="1574"/>
                        <a:pt x="1058" y="1574"/>
                        <a:pt x="1058" y="1574"/>
                      </a:cubicBezTo>
                      <a:cubicBezTo>
                        <a:pt x="1078" y="1549"/>
                        <a:pt x="1113" y="1462"/>
                        <a:pt x="1123" y="1436"/>
                      </a:cubicBezTo>
                      <a:cubicBezTo>
                        <a:pt x="1147" y="1422"/>
                        <a:pt x="1153" y="1396"/>
                        <a:pt x="1155" y="1386"/>
                      </a:cubicBezTo>
                      <a:cubicBezTo>
                        <a:pt x="1155" y="1384"/>
                        <a:pt x="1155" y="1384"/>
                        <a:pt x="1155" y="1384"/>
                      </a:cubicBezTo>
                      <a:cubicBezTo>
                        <a:pt x="1132" y="1396"/>
                        <a:pt x="1132" y="1396"/>
                        <a:pt x="1132" y="1396"/>
                      </a:cubicBezTo>
                      <a:cubicBezTo>
                        <a:pt x="1128" y="1405"/>
                        <a:pt x="1122" y="1414"/>
                        <a:pt x="1110" y="1420"/>
                      </a:cubicBezTo>
                      <a:cubicBezTo>
                        <a:pt x="1108" y="1421"/>
                        <a:pt x="1106" y="1423"/>
                        <a:pt x="1106" y="1425"/>
                      </a:cubicBezTo>
                      <a:cubicBezTo>
                        <a:pt x="1087" y="1472"/>
                        <a:pt x="1053" y="1552"/>
                        <a:pt x="1040" y="1564"/>
                      </a:cubicBezTo>
                      <a:cubicBezTo>
                        <a:pt x="1020" y="1582"/>
                        <a:pt x="966" y="1616"/>
                        <a:pt x="938" y="1616"/>
                      </a:cubicBezTo>
                      <a:cubicBezTo>
                        <a:pt x="908" y="1616"/>
                        <a:pt x="855" y="1582"/>
                        <a:pt x="835" y="1564"/>
                      </a:cubicBezTo>
                      <a:cubicBezTo>
                        <a:pt x="822" y="1552"/>
                        <a:pt x="788" y="1472"/>
                        <a:pt x="770" y="1425"/>
                      </a:cubicBezTo>
                      <a:cubicBezTo>
                        <a:pt x="769" y="1423"/>
                        <a:pt x="767" y="1421"/>
                        <a:pt x="765" y="1420"/>
                      </a:cubicBezTo>
                      <a:cubicBezTo>
                        <a:pt x="753" y="1414"/>
                        <a:pt x="747" y="1404"/>
                        <a:pt x="743" y="1396"/>
                      </a:cubicBezTo>
                      <a:cubicBezTo>
                        <a:pt x="720" y="1384"/>
                        <a:pt x="720" y="1384"/>
                        <a:pt x="720" y="1384"/>
                      </a:cubicBezTo>
                      <a:cubicBezTo>
                        <a:pt x="720" y="1387"/>
                        <a:pt x="720" y="1387"/>
                        <a:pt x="720" y="1387"/>
                      </a:cubicBezTo>
                      <a:cubicBezTo>
                        <a:pt x="723" y="1399"/>
                        <a:pt x="729" y="1423"/>
                        <a:pt x="752" y="1436"/>
                      </a:cubicBezTo>
                      <a:cubicBezTo>
                        <a:pt x="762" y="1462"/>
                        <a:pt x="797" y="1549"/>
                        <a:pt x="817" y="1574"/>
                      </a:cubicBezTo>
                      <a:cubicBezTo>
                        <a:pt x="817" y="1619"/>
                        <a:pt x="817" y="1619"/>
                        <a:pt x="817" y="1619"/>
                      </a:cubicBezTo>
                      <a:cubicBezTo>
                        <a:pt x="821" y="1624"/>
                        <a:pt x="821" y="1624"/>
                        <a:pt x="821" y="1624"/>
                      </a:cubicBezTo>
                      <a:cubicBezTo>
                        <a:pt x="822" y="1625"/>
                        <a:pt x="827" y="1632"/>
                        <a:pt x="838" y="1642"/>
                      </a:cubicBezTo>
                      <a:cubicBezTo>
                        <a:pt x="838" y="1592"/>
                        <a:pt x="838" y="1592"/>
                        <a:pt x="838" y="1592"/>
                      </a:cubicBezTo>
                      <a:cubicBezTo>
                        <a:pt x="864" y="1612"/>
                        <a:pt x="908" y="1636"/>
                        <a:pt x="938" y="1636"/>
                      </a:cubicBezTo>
                      <a:cubicBezTo>
                        <a:pt x="967" y="1636"/>
                        <a:pt x="1011" y="1612"/>
                        <a:pt x="1037" y="1592"/>
                      </a:cubicBezTo>
                      <a:cubicBezTo>
                        <a:pt x="1037" y="1642"/>
                        <a:pt x="1037" y="1642"/>
                        <a:pt x="1037" y="1642"/>
                      </a:cubicBezTo>
                      <a:cubicBezTo>
                        <a:pt x="1049" y="1632"/>
                        <a:pt x="1053" y="1625"/>
                        <a:pt x="1054" y="1624"/>
                      </a:cubicBezTo>
                      <a:close/>
                      <a:moveTo>
                        <a:pt x="1345" y="1811"/>
                      </a:moveTo>
                      <a:cubicBezTo>
                        <a:pt x="1333" y="1777"/>
                        <a:pt x="1297" y="1689"/>
                        <a:pt x="1246" y="1666"/>
                      </a:cubicBezTo>
                      <a:cubicBezTo>
                        <a:pt x="1185" y="1637"/>
                        <a:pt x="1070" y="1636"/>
                        <a:pt x="1070" y="1636"/>
                      </a:cubicBezTo>
                      <a:cubicBezTo>
                        <a:pt x="1070" y="1636"/>
                        <a:pt x="1066" y="1642"/>
                        <a:pt x="1058" y="1650"/>
                      </a:cubicBezTo>
                      <a:cubicBezTo>
                        <a:pt x="1057" y="1651"/>
                        <a:pt x="1056" y="1651"/>
                        <a:pt x="1056" y="1652"/>
                      </a:cubicBezTo>
                      <a:cubicBezTo>
                        <a:pt x="1036" y="1671"/>
                        <a:pt x="996" y="1699"/>
                        <a:pt x="938" y="1700"/>
                      </a:cubicBezTo>
                      <a:cubicBezTo>
                        <a:pt x="879" y="1699"/>
                        <a:pt x="840" y="1671"/>
                        <a:pt x="819" y="1652"/>
                      </a:cubicBezTo>
                      <a:cubicBezTo>
                        <a:pt x="819" y="1651"/>
                        <a:pt x="818" y="1651"/>
                        <a:pt x="817" y="1650"/>
                      </a:cubicBezTo>
                      <a:cubicBezTo>
                        <a:pt x="809" y="1642"/>
                        <a:pt x="805" y="1636"/>
                        <a:pt x="805" y="1636"/>
                      </a:cubicBezTo>
                      <a:cubicBezTo>
                        <a:pt x="805" y="1636"/>
                        <a:pt x="690" y="1637"/>
                        <a:pt x="629" y="1666"/>
                      </a:cubicBezTo>
                      <a:cubicBezTo>
                        <a:pt x="578" y="1689"/>
                        <a:pt x="542" y="1777"/>
                        <a:pt x="530" y="1811"/>
                      </a:cubicBezTo>
                      <a:cubicBezTo>
                        <a:pt x="527" y="1818"/>
                        <a:pt x="532" y="1825"/>
                        <a:pt x="539" y="1825"/>
                      </a:cubicBezTo>
                      <a:cubicBezTo>
                        <a:pt x="1336" y="1825"/>
                        <a:pt x="1336" y="1825"/>
                        <a:pt x="1336" y="1825"/>
                      </a:cubicBezTo>
                      <a:cubicBezTo>
                        <a:pt x="1343" y="1825"/>
                        <a:pt x="1348" y="1818"/>
                        <a:pt x="1345" y="1811"/>
                      </a:cubicBezTo>
                      <a:close/>
                      <a:moveTo>
                        <a:pt x="250" y="61"/>
                      </a:moveTo>
                      <a:cubicBezTo>
                        <a:pt x="250" y="7"/>
                        <a:pt x="250" y="7"/>
                        <a:pt x="250" y="7"/>
                      </a:cubicBezTo>
                      <a:cubicBezTo>
                        <a:pt x="250" y="2"/>
                        <a:pt x="247" y="0"/>
                        <a:pt x="242" y="0"/>
                      </a:cubicBezTo>
                      <a:cubicBezTo>
                        <a:pt x="153" y="0"/>
                        <a:pt x="153" y="0"/>
                        <a:pt x="153" y="0"/>
                      </a:cubicBezTo>
                      <a:cubicBezTo>
                        <a:pt x="149" y="0"/>
                        <a:pt x="146" y="2"/>
                        <a:pt x="146" y="7"/>
                      </a:cubicBezTo>
                      <a:cubicBezTo>
                        <a:pt x="146" y="93"/>
                        <a:pt x="146" y="132"/>
                        <a:pt x="146" y="150"/>
                      </a:cubicBezTo>
                      <a:cubicBezTo>
                        <a:pt x="221" y="86"/>
                        <a:pt x="221" y="86"/>
                        <a:pt x="221" y="86"/>
                      </a:cubicBezTo>
                      <a:lnTo>
                        <a:pt x="250" y="61"/>
                      </a:lnTo>
                      <a:close/>
                      <a:moveTo>
                        <a:pt x="754" y="1088"/>
                      </a:moveTo>
                      <a:cubicBezTo>
                        <a:pt x="803" y="1038"/>
                        <a:pt x="869" y="1010"/>
                        <a:pt x="939" y="1010"/>
                      </a:cubicBezTo>
                      <a:cubicBezTo>
                        <a:pt x="947" y="1010"/>
                        <a:pt x="954" y="1010"/>
                        <a:pt x="962" y="1011"/>
                      </a:cubicBezTo>
                      <a:cubicBezTo>
                        <a:pt x="959" y="1010"/>
                        <a:pt x="957" y="1009"/>
                        <a:pt x="954" y="1009"/>
                      </a:cubicBezTo>
                      <a:cubicBezTo>
                        <a:pt x="917" y="1009"/>
                        <a:pt x="917" y="1009"/>
                        <a:pt x="917" y="1009"/>
                      </a:cubicBezTo>
                      <a:cubicBezTo>
                        <a:pt x="885" y="1009"/>
                        <a:pt x="885" y="1009"/>
                        <a:pt x="885" y="1009"/>
                      </a:cubicBezTo>
                      <a:cubicBezTo>
                        <a:pt x="77" y="1009"/>
                        <a:pt x="77" y="1009"/>
                        <a:pt x="77" y="1009"/>
                      </a:cubicBezTo>
                      <a:cubicBezTo>
                        <a:pt x="45" y="1009"/>
                        <a:pt x="45" y="1009"/>
                        <a:pt x="45" y="1009"/>
                      </a:cubicBezTo>
                      <a:cubicBezTo>
                        <a:pt x="8" y="1009"/>
                        <a:pt x="8" y="1009"/>
                        <a:pt x="8" y="1009"/>
                      </a:cubicBezTo>
                      <a:cubicBezTo>
                        <a:pt x="5" y="1009"/>
                        <a:pt x="2" y="1010"/>
                        <a:pt x="0" y="1011"/>
                      </a:cubicBezTo>
                      <a:cubicBezTo>
                        <a:pt x="9" y="1010"/>
                        <a:pt x="17" y="1010"/>
                        <a:pt x="26" y="1010"/>
                      </a:cubicBezTo>
                      <a:cubicBezTo>
                        <a:pt x="136" y="1010"/>
                        <a:pt x="228" y="1076"/>
                        <a:pt x="266" y="1173"/>
                      </a:cubicBezTo>
                      <a:cubicBezTo>
                        <a:pt x="452" y="1173"/>
                        <a:pt x="593" y="1173"/>
                        <a:pt x="700" y="1173"/>
                      </a:cubicBezTo>
                      <a:cubicBezTo>
                        <a:pt x="712" y="1142"/>
                        <a:pt x="731" y="1113"/>
                        <a:pt x="754" y="10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204" name="Group 203">
            <a:extLst>
              <a:ext uri="{FF2B5EF4-FFF2-40B4-BE49-F238E27FC236}">
                <a16:creationId xmlns:a16="http://schemas.microsoft.com/office/drawing/2014/main" id="{177AF82C-4F0C-43BE-B6EE-DDB27134EB0F}"/>
              </a:ext>
            </a:extLst>
          </p:cNvPr>
          <p:cNvGrpSpPr/>
          <p:nvPr/>
        </p:nvGrpSpPr>
        <p:grpSpPr>
          <a:xfrm>
            <a:off x="7142326" y="1122815"/>
            <a:ext cx="676323" cy="763575"/>
            <a:chOff x="7142326" y="1122815"/>
            <a:chExt cx="676323" cy="763575"/>
          </a:xfrm>
        </p:grpSpPr>
        <p:sp>
          <p:nvSpPr>
            <p:cNvPr id="183" name="Oval 182">
              <a:extLst>
                <a:ext uri="{FF2B5EF4-FFF2-40B4-BE49-F238E27FC236}">
                  <a16:creationId xmlns:a16="http://schemas.microsoft.com/office/drawing/2014/main" id="{C7703973-E721-4F91-9AEF-591DFD5E07AA}"/>
                </a:ext>
              </a:extLst>
            </p:cNvPr>
            <p:cNvSpPr/>
            <p:nvPr/>
          </p:nvSpPr>
          <p:spPr>
            <a:xfrm>
              <a:off x="7142326" y="1613257"/>
              <a:ext cx="676323" cy="273133"/>
            </a:xfrm>
            <a:prstGeom prst="ellipse">
              <a:avLst/>
            </a:prstGeom>
            <a:gradFill flip="none" rotWithShape="1">
              <a:gsLst>
                <a:gs pos="0">
                  <a:schemeClr val="bg2">
                    <a:lumMod val="10000"/>
                    <a:alpha val="70000"/>
                  </a:schemeClr>
                </a:gs>
                <a:gs pos="100000">
                  <a:schemeClr val="bg2">
                    <a:lumMod val="1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a:solidFill>
                  <a:schemeClr val="bg1"/>
                </a:solidFill>
              </a:endParaRPr>
            </a:p>
          </p:txBody>
        </p:sp>
        <p:sp>
          <p:nvSpPr>
            <p:cNvPr id="184" name="Oval 183">
              <a:extLst>
                <a:ext uri="{FF2B5EF4-FFF2-40B4-BE49-F238E27FC236}">
                  <a16:creationId xmlns:a16="http://schemas.microsoft.com/office/drawing/2014/main" id="{1A2FA4F4-C33F-4062-85A6-177C8AACD290}"/>
                </a:ext>
              </a:extLst>
            </p:cNvPr>
            <p:cNvSpPr/>
            <p:nvPr/>
          </p:nvSpPr>
          <p:spPr>
            <a:xfrm>
              <a:off x="7142326" y="1122815"/>
              <a:ext cx="676323" cy="676324"/>
            </a:xfrm>
            <a:prstGeom prst="ellipse">
              <a:avLst/>
            </a:prstGeom>
            <a:gradFill flip="none" rotWithShape="1">
              <a:gsLst>
                <a:gs pos="0">
                  <a:schemeClr val="accent1"/>
                </a:gs>
                <a:gs pos="100000">
                  <a:schemeClr val="tx2"/>
                </a:gs>
              </a:gsLst>
              <a:lin ang="135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algn="ctr"/>
              <a:endParaRPr lang="en-US" b="1">
                <a:solidFill>
                  <a:srgbClr val="FFFFFF"/>
                </a:solidFill>
              </a:endParaRPr>
            </a:p>
          </p:txBody>
        </p:sp>
        <p:grpSp>
          <p:nvGrpSpPr>
            <p:cNvPr id="136" name="bcgIcons_Technology, media + telecom ">
              <a:extLst>
                <a:ext uri="{FF2B5EF4-FFF2-40B4-BE49-F238E27FC236}">
                  <a16:creationId xmlns:a16="http://schemas.microsoft.com/office/drawing/2014/main" id="{53E4ABAF-6FC7-49F1-B826-0C068F4D1AAC}"/>
                </a:ext>
              </a:extLst>
            </p:cNvPr>
            <p:cNvGrpSpPr>
              <a:grpSpLocks noChangeAspect="1"/>
            </p:cNvGrpSpPr>
            <p:nvPr/>
          </p:nvGrpSpPr>
          <p:grpSpPr bwMode="auto">
            <a:xfrm>
              <a:off x="7251873" y="1232362"/>
              <a:ext cx="456806" cy="457230"/>
              <a:chOff x="1682" y="0"/>
              <a:chExt cx="4316" cy="4320"/>
            </a:xfrm>
          </p:grpSpPr>
          <p:sp>
            <p:nvSpPr>
              <p:cNvPr id="137" name="AutoShape 3">
                <a:extLst>
                  <a:ext uri="{FF2B5EF4-FFF2-40B4-BE49-F238E27FC236}">
                    <a16:creationId xmlns:a16="http://schemas.microsoft.com/office/drawing/2014/main" id="{F3E1BBBD-038A-46F2-A169-D00EF352E5E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5">
                <a:extLst>
                  <a:ext uri="{FF2B5EF4-FFF2-40B4-BE49-F238E27FC236}">
                    <a16:creationId xmlns:a16="http://schemas.microsoft.com/office/drawing/2014/main" id="{09BD9738-75DA-4E35-A594-BE6541B9007C}"/>
                  </a:ext>
                </a:extLst>
              </p:cNvPr>
              <p:cNvSpPr>
                <a:spLocks noEditPoints="1"/>
              </p:cNvSpPr>
              <p:nvPr/>
            </p:nvSpPr>
            <p:spPr bwMode="auto">
              <a:xfrm>
                <a:off x="1871" y="1202"/>
                <a:ext cx="3938" cy="2711"/>
              </a:xfrm>
              <a:custGeom>
                <a:avLst/>
                <a:gdLst>
                  <a:gd name="T0" fmla="*/ 1334 w 2102"/>
                  <a:gd name="T1" fmla="*/ 0 h 1446"/>
                  <a:gd name="T2" fmla="*/ 1350 w 2102"/>
                  <a:gd name="T3" fmla="*/ 183 h 1446"/>
                  <a:gd name="T4" fmla="*/ 1261 w 2102"/>
                  <a:gd name="T5" fmla="*/ 14 h 1446"/>
                  <a:gd name="T6" fmla="*/ 836 w 2102"/>
                  <a:gd name="T7" fmla="*/ 1110 h 1446"/>
                  <a:gd name="T8" fmla="*/ 731 w 2102"/>
                  <a:gd name="T9" fmla="*/ 1414 h 1446"/>
                  <a:gd name="T10" fmla="*/ 773 w 2102"/>
                  <a:gd name="T11" fmla="*/ 1429 h 1446"/>
                  <a:gd name="T12" fmla="*/ 1680 w 2102"/>
                  <a:gd name="T13" fmla="*/ 1139 h 1446"/>
                  <a:gd name="T14" fmla="*/ 1800 w 2102"/>
                  <a:gd name="T15" fmla="*/ 1443 h 1446"/>
                  <a:gd name="T16" fmla="*/ 1821 w 2102"/>
                  <a:gd name="T17" fmla="*/ 1414 h 1446"/>
                  <a:gd name="T18" fmla="*/ 1276 w 2102"/>
                  <a:gd name="T19" fmla="*/ 658 h 1446"/>
                  <a:gd name="T20" fmla="*/ 1052 w 2102"/>
                  <a:gd name="T21" fmla="*/ 791 h 1446"/>
                  <a:gd name="T22" fmla="*/ 1276 w 2102"/>
                  <a:gd name="T23" fmla="*/ 917 h 1446"/>
                  <a:gd name="T24" fmla="*/ 1472 w 2102"/>
                  <a:gd name="T25" fmla="*/ 835 h 1446"/>
                  <a:gd name="T26" fmla="*/ 1233 w 2102"/>
                  <a:gd name="T27" fmla="*/ 633 h 1446"/>
                  <a:gd name="T28" fmla="*/ 1079 w 2102"/>
                  <a:gd name="T29" fmla="*/ 542 h 1446"/>
                  <a:gd name="T30" fmla="*/ 1319 w 2102"/>
                  <a:gd name="T31" fmla="*/ 633 h 1446"/>
                  <a:gd name="T32" fmla="*/ 1553 w 2102"/>
                  <a:gd name="T33" fmla="*/ 771 h 1446"/>
                  <a:gd name="T34" fmla="*/ 1147 w 2102"/>
                  <a:gd name="T35" fmla="*/ 531 h 1446"/>
                  <a:gd name="T36" fmla="*/ 1276 w 2102"/>
                  <a:gd name="T37" fmla="*/ 607 h 1446"/>
                  <a:gd name="T38" fmla="*/ 1455 w 2102"/>
                  <a:gd name="T39" fmla="*/ 487 h 1446"/>
                  <a:gd name="T40" fmla="*/ 1187 w 2102"/>
                  <a:gd name="T41" fmla="*/ 227 h 1446"/>
                  <a:gd name="T42" fmla="*/ 976 w 2102"/>
                  <a:gd name="T43" fmla="*/ 839 h 1446"/>
                  <a:gd name="T44" fmla="*/ 894 w 2102"/>
                  <a:gd name="T45" fmla="*/ 1078 h 1446"/>
                  <a:gd name="T46" fmla="*/ 966 w 2102"/>
                  <a:gd name="T47" fmla="*/ 1095 h 1446"/>
                  <a:gd name="T48" fmla="*/ 1586 w 2102"/>
                  <a:gd name="T49" fmla="*/ 1095 h 1446"/>
                  <a:gd name="T50" fmla="*/ 1333 w 2102"/>
                  <a:gd name="T51" fmla="*/ 941 h 1446"/>
                  <a:gd name="T52" fmla="*/ 1659 w 2102"/>
                  <a:gd name="T53" fmla="*/ 1078 h 1446"/>
                  <a:gd name="T54" fmla="*/ 747 w 2102"/>
                  <a:gd name="T55" fmla="*/ 1086 h 1446"/>
                  <a:gd name="T56" fmla="*/ 416 w 2102"/>
                  <a:gd name="T57" fmla="*/ 1069 h 1446"/>
                  <a:gd name="T58" fmla="*/ 506 w 2102"/>
                  <a:gd name="T59" fmla="*/ 1001 h 1446"/>
                  <a:gd name="T60" fmla="*/ 22 w 2102"/>
                  <a:gd name="T61" fmla="*/ 987 h 1446"/>
                  <a:gd name="T62" fmla="*/ 0 w 2102"/>
                  <a:gd name="T63" fmla="*/ 329 h 1446"/>
                  <a:gd name="T64" fmla="*/ 1066 w 2102"/>
                  <a:gd name="T65" fmla="*/ 307 h 1446"/>
                  <a:gd name="T66" fmla="*/ 44 w 2102"/>
                  <a:gd name="T67" fmla="*/ 351 h 1446"/>
                  <a:gd name="T68" fmla="*/ 528 w 2102"/>
                  <a:gd name="T69" fmla="*/ 943 h 1446"/>
                  <a:gd name="T70" fmla="*/ 550 w 2102"/>
                  <a:gd name="T71" fmla="*/ 1014 h 1446"/>
                  <a:gd name="T72" fmla="*/ 523 w 2102"/>
                  <a:gd name="T73" fmla="*/ 1042 h 1446"/>
                  <a:gd name="T74" fmla="*/ 646 w 2102"/>
                  <a:gd name="T75" fmla="*/ 1033 h 1446"/>
                  <a:gd name="T76" fmla="*/ 634 w 2102"/>
                  <a:gd name="T77" fmla="*/ 965 h 1446"/>
                  <a:gd name="T78" fmla="*/ 847 w 2102"/>
                  <a:gd name="T79" fmla="*/ 943 h 1446"/>
                  <a:gd name="T80" fmla="*/ 678 w 2102"/>
                  <a:gd name="T81" fmla="*/ 987 h 1446"/>
                  <a:gd name="T82" fmla="*/ 758 w 2102"/>
                  <a:gd name="T83" fmla="*/ 1044 h 1446"/>
                  <a:gd name="T84" fmla="*/ 747 w 2102"/>
                  <a:gd name="T85" fmla="*/ 1086 h 1446"/>
                  <a:gd name="T86" fmla="*/ 2102 w 2102"/>
                  <a:gd name="T87" fmla="*/ 899 h 1446"/>
                  <a:gd name="T88" fmla="*/ 2102 w 2102"/>
                  <a:gd name="T89" fmla="*/ 1063 h 1446"/>
                  <a:gd name="T90" fmla="*/ 1754 w 2102"/>
                  <a:gd name="T91" fmla="*/ 1085 h 1446"/>
                  <a:gd name="T92" fmla="*/ 2058 w 2102"/>
                  <a:gd name="T93" fmla="*/ 1041 h 1446"/>
                  <a:gd name="T94" fmla="*/ 1705 w 2102"/>
                  <a:gd name="T95" fmla="*/ 943 h 1446"/>
                  <a:gd name="T96" fmla="*/ 2058 w 2102"/>
                  <a:gd name="T97" fmla="*/ 899 h 1446"/>
                  <a:gd name="T98" fmla="*/ 1634 w 2102"/>
                  <a:gd name="T99" fmla="*/ 174 h 1446"/>
                  <a:gd name="T100" fmla="*/ 1590 w 2102"/>
                  <a:gd name="T101" fmla="*/ 609 h 1446"/>
                  <a:gd name="T102" fmla="*/ 1612 w 2102"/>
                  <a:gd name="T103" fmla="*/ 130 h 1446"/>
                  <a:gd name="T104" fmla="*/ 2102 w 2102"/>
                  <a:gd name="T105" fmla="*/ 152 h 1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2" h="1446">
                    <a:moveTo>
                      <a:pt x="1821" y="1414"/>
                    </a:moveTo>
                    <a:cubicBezTo>
                      <a:pt x="1334" y="0"/>
                      <a:pt x="1334" y="0"/>
                      <a:pt x="1334" y="0"/>
                    </a:cubicBezTo>
                    <a:cubicBezTo>
                      <a:pt x="1321" y="7"/>
                      <a:pt x="1307" y="12"/>
                      <a:pt x="1292" y="14"/>
                    </a:cubicBezTo>
                    <a:cubicBezTo>
                      <a:pt x="1350" y="183"/>
                      <a:pt x="1350" y="183"/>
                      <a:pt x="1350" y="183"/>
                    </a:cubicBezTo>
                    <a:cubicBezTo>
                      <a:pt x="1202" y="183"/>
                      <a:pt x="1202" y="183"/>
                      <a:pt x="1202" y="183"/>
                    </a:cubicBezTo>
                    <a:cubicBezTo>
                      <a:pt x="1261" y="14"/>
                      <a:pt x="1261" y="14"/>
                      <a:pt x="1261" y="14"/>
                    </a:cubicBezTo>
                    <a:cubicBezTo>
                      <a:pt x="1246" y="12"/>
                      <a:pt x="1231" y="7"/>
                      <a:pt x="1219" y="0"/>
                    </a:cubicBezTo>
                    <a:cubicBezTo>
                      <a:pt x="836" y="1110"/>
                      <a:pt x="836" y="1110"/>
                      <a:pt x="836" y="1110"/>
                    </a:cubicBezTo>
                    <a:cubicBezTo>
                      <a:pt x="836" y="1110"/>
                      <a:pt x="836" y="1110"/>
                      <a:pt x="836" y="1110"/>
                    </a:cubicBezTo>
                    <a:cubicBezTo>
                      <a:pt x="731" y="1414"/>
                      <a:pt x="731" y="1414"/>
                      <a:pt x="731" y="1414"/>
                    </a:cubicBezTo>
                    <a:cubicBezTo>
                      <a:pt x="727" y="1426"/>
                      <a:pt x="734" y="1438"/>
                      <a:pt x="745" y="1442"/>
                    </a:cubicBezTo>
                    <a:cubicBezTo>
                      <a:pt x="757" y="1446"/>
                      <a:pt x="769" y="1440"/>
                      <a:pt x="773" y="1429"/>
                    </a:cubicBezTo>
                    <a:cubicBezTo>
                      <a:pt x="873" y="1139"/>
                      <a:pt x="873" y="1139"/>
                      <a:pt x="873" y="1139"/>
                    </a:cubicBezTo>
                    <a:cubicBezTo>
                      <a:pt x="1680" y="1139"/>
                      <a:pt x="1680" y="1139"/>
                      <a:pt x="1680" y="1139"/>
                    </a:cubicBezTo>
                    <a:cubicBezTo>
                      <a:pt x="1779" y="1429"/>
                      <a:pt x="1779" y="1429"/>
                      <a:pt x="1779" y="1429"/>
                    </a:cubicBezTo>
                    <a:cubicBezTo>
                      <a:pt x="1783" y="1438"/>
                      <a:pt x="1791" y="1443"/>
                      <a:pt x="1800" y="1443"/>
                    </a:cubicBezTo>
                    <a:cubicBezTo>
                      <a:pt x="1803" y="1443"/>
                      <a:pt x="1805" y="1443"/>
                      <a:pt x="1807" y="1442"/>
                    </a:cubicBezTo>
                    <a:cubicBezTo>
                      <a:pt x="1819" y="1438"/>
                      <a:pt x="1825" y="1426"/>
                      <a:pt x="1821" y="1414"/>
                    </a:cubicBezTo>
                    <a:close/>
                    <a:moveTo>
                      <a:pt x="1052" y="791"/>
                    </a:moveTo>
                    <a:cubicBezTo>
                      <a:pt x="1276" y="658"/>
                      <a:pt x="1276" y="658"/>
                      <a:pt x="1276" y="658"/>
                    </a:cubicBezTo>
                    <a:cubicBezTo>
                      <a:pt x="1501" y="791"/>
                      <a:pt x="1501" y="791"/>
                      <a:pt x="1501" y="791"/>
                    </a:cubicBezTo>
                    <a:lnTo>
                      <a:pt x="1052" y="791"/>
                    </a:lnTo>
                    <a:close/>
                    <a:moveTo>
                      <a:pt x="1472" y="835"/>
                    </a:moveTo>
                    <a:cubicBezTo>
                      <a:pt x="1276" y="917"/>
                      <a:pt x="1276" y="917"/>
                      <a:pt x="1276" y="917"/>
                    </a:cubicBezTo>
                    <a:cubicBezTo>
                      <a:pt x="1080" y="835"/>
                      <a:pt x="1080" y="835"/>
                      <a:pt x="1080" y="835"/>
                    </a:cubicBezTo>
                    <a:lnTo>
                      <a:pt x="1472" y="835"/>
                    </a:lnTo>
                    <a:close/>
                    <a:moveTo>
                      <a:pt x="1079" y="542"/>
                    </a:moveTo>
                    <a:cubicBezTo>
                      <a:pt x="1233" y="633"/>
                      <a:pt x="1233" y="633"/>
                      <a:pt x="1233" y="633"/>
                    </a:cubicBezTo>
                    <a:cubicBezTo>
                      <a:pt x="1000" y="771"/>
                      <a:pt x="1000" y="771"/>
                      <a:pt x="1000" y="771"/>
                    </a:cubicBezTo>
                    <a:lnTo>
                      <a:pt x="1079" y="542"/>
                    </a:lnTo>
                    <a:close/>
                    <a:moveTo>
                      <a:pt x="1553" y="771"/>
                    </a:moveTo>
                    <a:cubicBezTo>
                      <a:pt x="1319" y="633"/>
                      <a:pt x="1319" y="633"/>
                      <a:pt x="1319" y="633"/>
                    </a:cubicBezTo>
                    <a:cubicBezTo>
                      <a:pt x="1474" y="542"/>
                      <a:pt x="1474" y="542"/>
                      <a:pt x="1474" y="542"/>
                    </a:cubicBezTo>
                    <a:lnTo>
                      <a:pt x="1553" y="771"/>
                    </a:lnTo>
                    <a:close/>
                    <a:moveTo>
                      <a:pt x="1276" y="607"/>
                    </a:moveTo>
                    <a:cubicBezTo>
                      <a:pt x="1147" y="531"/>
                      <a:pt x="1147" y="531"/>
                      <a:pt x="1147" y="531"/>
                    </a:cubicBezTo>
                    <a:cubicBezTo>
                      <a:pt x="1405" y="531"/>
                      <a:pt x="1405" y="531"/>
                      <a:pt x="1405" y="531"/>
                    </a:cubicBezTo>
                    <a:lnTo>
                      <a:pt x="1276" y="607"/>
                    </a:lnTo>
                    <a:close/>
                    <a:moveTo>
                      <a:pt x="1365" y="227"/>
                    </a:moveTo>
                    <a:cubicBezTo>
                      <a:pt x="1455" y="487"/>
                      <a:pt x="1455" y="487"/>
                      <a:pt x="1455" y="487"/>
                    </a:cubicBezTo>
                    <a:cubicBezTo>
                      <a:pt x="1097" y="487"/>
                      <a:pt x="1097" y="487"/>
                      <a:pt x="1097" y="487"/>
                    </a:cubicBezTo>
                    <a:cubicBezTo>
                      <a:pt x="1187" y="227"/>
                      <a:pt x="1187" y="227"/>
                      <a:pt x="1187" y="227"/>
                    </a:cubicBezTo>
                    <a:lnTo>
                      <a:pt x="1365" y="227"/>
                    </a:lnTo>
                    <a:close/>
                    <a:moveTo>
                      <a:pt x="976" y="839"/>
                    </a:moveTo>
                    <a:cubicBezTo>
                      <a:pt x="1219" y="941"/>
                      <a:pt x="1219" y="941"/>
                      <a:pt x="1219" y="941"/>
                    </a:cubicBezTo>
                    <a:cubicBezTo>
                      <a:pt x="894" y="1078"/>
                      <a:pt x="894" y="1078"/>
                      <a:pt x="894" y="1078"/>
                    </a:cubicBezTo>
                    <a:lnTo>
                      <a:pt x="976" y="839"/>
                    </a:lnTo>
                    <a:close/>
                    <a:moveTo>
                      <a:pt x="966" y="1095"/>
                    </a:moveTo>
                    <a:cubicBezTo>
                      <a:pt x="1276" y="965"/>
                      <a:pt x="1276" y="965"/>
                      <a:pt x="1276" y="965"/>
                    </a:cubicBezTo>
                    <a:cubicBezTo>
                      <a:pt x="1586" y="1095"/>
                      <a:pt x="1586" y="1095"/>
                      <a:pt x="1586" y="1095"/>
                    </a:cubicBezTo>
                    <a:lnTo>
                      <a:pt x="966" y="1095"/>
                    </a:lnTo>
                    <a:close/>
                    <a:moveTo>
                      <a:pt x="1333" y="941"/>
                    </a:moveTo>
                    <a:cubicBezTo>
                      <a:pt x="1576" y="839"/>
                      <a:pt x="1576" y="839"/>
                      <a:pt x="1576" y="839"/>
                    </a:cubicBezTo>
                    <a:cubicBezTo>
                      <a:pt x="1659" y="1078"/>
                      <a:pt x="1659" y="1078"/>
                      <a:pt x="1659" y="1078"/>
                    </a:cubicBezTo>
                    <a:lnTo>
                      <a:pt x="1333" y="941"/>
                    </a:lnTo>
                    <a:close/>
                    <a:moveTo>
                      <a:pt x="747" y="1086"/>
                    </a:moveTo>
                    <a:cubicBezTo>
                      <a:pt x="437" y="1086"/>
                      <a:pt x="437" y="1086"/>
                      <a:pt x="437" y="1086"/>
                    </a:cubicBezTo>
                    <a:cubicBezTo>
                      <a:pt x="427" y="1086"/>
                      <a:pt x="419" y="1079"/>
                      <a:pt x="416" y="1069"/>
                    </a:cubicBezTo>
                    <a:cubicBezTo>
                      <a:pt x="414" y="1059"/>
                      <a:pt x="418" y="1049"/>
                      <a:pt x="427" y="1044"/>
                    </a:cubicBezTo>
                    <a:cubicBezTo>
                      <a:pt x="506" y="1001"/>
                      <a:pt x="506" y="1001"/>
                      <a:pt x="506" y="1001"/>
                    </a:cubicBezTo>
                    <a:cubicBezTo>
                      <a:pt x="506" y="987"/>
                      <a:pt x="506" y="987"/>
                      <a:pt x="506" y="987"/>
                    </a:cubicBezTo>
                    <a:cubicBezTo>
                      <a:pt x="22" y="987"/>
                      <a:pt x="22" y="987"/>
                      <a:pt x="22" y="987"/>
                    </a:cubicBezTo>
                    <a:cubicBezTo>
                      <a:pt x="9" y="987"/>
                      <a:pt x="0" y="978"/>
                      <a:pt x="0" y="965"/>
                    </a:cubicBezTo>
                    <a:cubicBezTo>
                      <a:pt x="0" y="329"/>
                      <a:pt x="0" y="329"/>
                      <a:pt x="0" y="329"/>
                    </a:cubicBezTo>
                    <a:cubicBezTo>
                      <a:pt x="0" y="317"/>
                      <a:pt x="9" y="307"/>
                      <a:pt x="22" y="307"/>
                    </a:cubicBezTo>
                    <a:cubicBezTo>
                      <a:pt x="1066" y="307"/>
                      <a:pt x="1066" y="307"/>
                      <a:pt x="1066" y="307"/>
                    </a:cubicBezTo>
                    <a:cubicBezTo>
                      <a:pt x="1051" y="351"/>
                      <a:pt x="1051" y="351"/>
                      <a:pt x="1051" y="351"/>
                    </a:cubicBezTo>
                    <a:cubicBezTo>
                      <a:pt x="44" y="351"/>
                      <a:pt x="44" y="351"/>
                      <a:pt x="44" y="351"/>
                    </a:cubicBezTo>
                    <a:cubicBezTo>
                      <a:pt x="44" y="943"/>
                      <a:pt x="44" y="943"/>
                      <a:pt x="44" y="943"/>
                    </a:cubicBezTo>
                    <a:cubicBezTo>
                      <a:pt x="528" y="943"/>
                      <a:pt x="528" y="943"/>
                      <a:pt x="528" y="943"/>
                    </a:cubicBezTo>
                    <a:cubicBezTo>
                      <a:pt x="540" y="943"/>
                      <a:pt x="550" y="953"/>
                      <a:pt x="550" y="965"/>
                    </a:cubicBezTo>
                    <a:cubicBezTo>
                      <a:pt x="550" y="1014"/>
                      <a:pt x="550" y="1014"/>
                      <a:pt x="550" y="1014"/>
                    </a:cubicBezTo>
                    <a:cubicBezTo>
                      <a:pt x="550" y="1022"/>
                      <a:pt x="546" y="1029"/>
                      <a:pt x="539" y="1033"/>
                    </a:cubicBezTo>
                    <a:cubicBezTo>
                      <a:pt x="523" y="1042"/>
                      <a:pt x="523" y="1042"/>
                      <a:pt x="523" y="1042"/>
                    </a:cubicBezTo>
                    <a:cubicBezTo>
                      <a:pt x="661" y="1042"/>
                      <a:pt x="661" y="1042"/>
                      <a:pt x="661" y="1042"/>
                    </a:cubicBezTo>
                    <a:cubicBezTo>
                      <a:pt x="646" y="1033"/>
                      <a:pt x="646" y="1033"/>
                      <a:pt x="646" y="1033"/>
                    </a:cubicBezTo>
                    <a:cubicBezTo>
                      <a:pt x="639" y="1029"/>
                      <a:pt x="634" y="1022"/>
                      <a:pt x="634" y="1014"/>
                    </a:cubicBezTo>
                    <a:cubicBezTo>
                      <a:pt x="634" y="965"/>
                      <a:pt x="634" y="965"/>
                      <a:pt x="634" y="965"/>
                    </a:cubicBezTo>
                    <a:cubicBezTo>
                      <a:pt x="634" y="953"/>
                      <a:pt x="644" y="943"/>
                      <a:pt x="656" y="943"/>
                    </a:cubicBezTo>
                    <a:cubicBezTo>
                      <a:pt x="847" y="943"/>
                      <a:pt x="847" y="943"/>
                      <a:pt x="847" y="943"/>
                    </a:cubicBezTo>
                    <a:cubicBezTo>
                      <a:pt x="832" y="987"/>
                      <a:pt x="832" y="987"/>
                      <a:pt x="832" y="987"/>
                    </a:cubicBezTo>
                    <a:cubicBezTo>
                      <a:pt x="678" y="987"/>
                      <a:pt x="678" y="987"/>
                      <a:pt x="678" y="987"/>
                    </a:cubicBezTo>
                    <a:cubicBezTo>
                      <a:pt x="678" y="1001"/>
                      <a:pt x="678" y="1001"/>
                      <a:pt x="678" y="1001"/>
                    </a:cubicBezTo>
                    <a:cubicBezTo>
                      <a:pt x="758" y="1044"/>
                      <a:pt x="758" y="1044"/>
                      <a:pt x="758" y="1044"/>
                    </a:cubicBezTo>
                    <a:cubicBezTo>
                      <a:pt x="767" y="1049"/>
                      <a:pt x="771" y="1059"/>
                      <a:pt x="768" y="1069"/>
                    </a:cubicBezTo>
                    <a:cubicBezTo>
                      <a:pt x="766" y="1079"/>
                      <a:pt x="757" y="1086"/>
                      <a:pt x="747" y="1086"/>
                    </a:cubicBezTo>
                    <a:close/>
                    <a:moveTo>
                      <a:pt x="2102" y="152"/>
                    </a:moveTo>
                    <a:cubicBezTo>
                      <a:pt x="2102" y="899"/>
                      <a:pt x="2102" y="899"/>
                      <a:pt x="2102" y="899"/>
                    </a:cubicBezTo>
                    <a:cubicBezTo>
                      <a:pt x="2102" y="943"/>
                      <a:pt x="2102" y="943"/>
                      <a:pt x="2102" y="943"/>
                    </a:cubicBezTo>
                    <a:cubicBezTo>
                      <a:pt x="2102" y="1063"/>
                      <a:pt x="2102" y="1063"/>
                      <a:pt x="2102" y="1063"/>
                    </a:cubicBezTo>
                    <a:cubicBezTo>
                      <a:pt x="2102" y="1076"/>
                      <a:pt x="2093" y="1085"/>
                      <a:pt x="2080" y="1085"/>
                    </a:cubicBezTo>
                    <a:cubicBezTo>
                      <a:pt x="1754" y="1085"/>
                      <a:pt x="1754" y="1085"/>
                      <a:pt x="1754" y="1085"/>
                    </a:cubicBezTo>
                    <a:cubicBezTo>
                      <a:pt x="1739" y="1041"/>
                      <a:pt x="1739" y="1041"/>
                      <a:pt x="1739" y="1041"/>
                    </a:cubicBezTo>
                    <a:cubicBezTo>
                      <a:pt x="2058" y="1041"/>
                      <a:pt x="2058" y="1041"/>
                      <a:pt x="2058" y="1041"/>
                    </a:cubicBezTo>
                    <a:cubicBezTo>
                      <a:pt x="2058" y="943"/>
                      <a:pt x="2058" y="943"/>
                      <a:pt x="2058" y="943"/>
                    </a:cubicBezTo>
                    <a:cubicBezTo>
                      <a:pt x="1705" y="943"/>
                      <a:pt x="1705" y="943"/>
                      <a:pt x="1705" y="943"/>
                    </a:cubicBezTo>
                    <a:cubicBezTo>
                      <a:pt x="1690" y="899"/>
                      <a:pt x="1690" y="899"/>
                      <a:pt x="1690" y="899"/>
                    </a:cubicBezTo>
                    <a:cubicBezTo>
                      <a:pt x="2058" y="899"/>
                      <a:pt x="2058" y="899"/>
                      <a:pt x="2058" y="899"/>
                    </a:cubicBezTo>
                    <a:cubicBezTo>
                      <a:pt x="2058" y="174"/>
                      <a:pt x="2058" y="174"/>
                      <a:pt x="2058" y="174"/>
                    </a:cubicBezTo>
                    <a:cubicBezTo>
                      <a:pt x="1634" y="174"/>
                      <a:pt x="1634" y="174"/>
                      <a:pt x="1634" y="174"/>
                    </a:cubicBezTo>
                    <a:cubicBezTo>
                      <a:pt x="1634" y="737"/>
                      <a:pt x="1634" y="737"/>
                      <a:pt x="1634" y="737"/>
                    </a:cubicBezTo>
                    <a:cubicBezTo>
                      <a:pt x="1590" y="609"/>
                      <a:pt x="1590" y="609"/>
                      <a:pt x="1590" y="609"/>
                    </a:cubicBezTo>
                    <a:cubicBezTo>
                      <a:pt x="1590" y="152"/>
                      <a:pt x="1590" y="152"/>
                      <a:pt x="1590" y="152"/>
                    </a:cubicBezTo>
                    <a:cubicBezTo>
                      <a:pt x="1590" y="140"/>
                      <a:pt x="1600" y="130"/>
                      <a:pt x="1612" y="130"/>
                    </a:cubicBezTo>
                    <a:cubicBezTo>
                      <a:pt x="2080" y="130"/>
                      <a:pt x="2080" y="130"/>
                      <a:pt x="2080" y="130"/>
                    </a:cubicBezTo>
                    <a:cubicBezTo>
                      <a:pt x="2093" y="130"/>
                      <a:pt x="2102" y="140"/>
                      <a:pt x="2102"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6">
                <a:extLst>
                  <a:ext uri="{FF2B5EF4-FFF2-40B4-BE49-F238E27FC236}">
                    <a16:creationId xmlns:a16="http://schemas.microsoft.com/office/drawing/2014/main" id="{71D2ACD3-E3D7-453F-83F8-11D5A55A5330}"/>
                  </a:ext>
                </a:extLst>
              </p:cNvPr>
              <p:cNvSpPr>
                <a:spLocks noEditPoints="1"/>
              </p:cNvSpPr>
              <p:nvPr/>
            </p:nvSpPr>
            <p:spPr bwMode="auto">
              <a:xfrm>
                <a:off x="2002" y="416"/>
                <a:ext cx="3661" cy="2706"/>
              </a:xfrm>
              <a:custGeom>
                <a:avLst/>
                <a:gdLst>
                  <a:gd name="T0" fmla="*/ 1776 w 1954"/>
                  <a:gd name="T1" fmla="*/ 1443 h 1443"/>
                  <a:gd name="T2" fmla="*/ 1741 w 1954"/>
                  <a:gd name="T3" fmla="*/ 1408 h 1443"/>
                  <a:gd name="T4" fmla="*/ 1776 w 1954"/>
                  <a:gd name="T5" fmla="*/ 1372 h 1443"/>
                  <a:gd name="T6" fmla="*/ 1812 w 1954"/>
                  <a:gd name="T7" fmla="*/ 1408 h 1443"/>
                  <a:gd name="T8" fmla="*/ 1776 w 1954"/>
                  <a:gd name="T9" fmla="*/ 1443 h 1443"/>
                  <a:gd name="T10" fmla="*/ 1876 w 1954"/>
                  <a:gd name="T11" fmla="*/ 640 h 1443"/>
                  <a:gd name="T12" fmla="*/ 1854 w 1954"/>
                  <a:gd name="T13" fmla="*/ 618 h 1443"/>
                  <a:gd name="T14" fmla="*/ 1699 w 1954"/>
                  <a:gd name="T15" fmla="*/ 618 h 1443"/>
                  <a:gd name="T16" fmla="*/ 1677 w 1954"/>
                  <a:gd name="T17" fmla="*/ 640 h 1443"/>
                  <a:gd name="T18" fmla="*/ 1699 w 1954"/>
                  <a:gd name="T19" fmla="*/ 662 h 1443"/>
                  <a:gd name="T20" fmla="*/ 1854 w 1954"/>
                  <a:gd name="T21" fmla="*/ 662 h 1443"/>
                  <a:gd name="T22" fmla="*/ 1876 w 1954"/>
                  <a:gd name="T23" fmla="*/ 640 h 1443"/>
                  <a:gd name="T24" fmla="*/ 971 w 1954"/>
                  <a:gd name="T25" fmla="*/ 801 h 1443"/>
                  <a:gd name="T26" fmla="*/ 10 w 1954"/>
                  <a:gd name="T27" fmla="*/ 801 h 1443"/>
                  <a:gd name="T28" fmla="*/ 0 w 1954"/>
                  <a:gd name="T29" fmla="*/ 811 h 1443"/>
                  <a:gd name="T30" fmla="*/ 0 w 1954"/>
                  <a:gd name="T31" fmla="*/ 1322 h 1443"/>
                  <a:gd name="T32" fmla="*/ 10 w 1954"/>
                  <a:gd name="T33" fmla="*/ 1332 h 1443"/>
                  <a:gd name="T34" fmla="*/ 787 w 1954"/>
                  <a:gd name="T35" fmla="*/ 1332 h 1443"/>
                  <a:gd name="T36" fmla="*/ 971 w 1954"/>
                  <a:gd name="T37" fmla="*/ 801 h 1443"/>
                  <a:gd name="T38" fmla="*/ 1206 w 1954"/>
                  <a:gd name="T39" fmla="*/ 235 h 1443"/>
                  <a:gd name="T40" fmla="*/ 1129 w 1954"/>
                  <a:gd name="T41" fmla="*/ 312 h 1443"/>
                  <a:gd name="T42" fmla="*/ 1206 w 1954"/>
                  <a:gd name="T43" fmla="*/ 390 h 1443"/>
                  <a:gd name="T44" fmla="*/ 1284 w 1954"/>
                  <a:gd name="T45" fmla="*/ 312 h 1443"/>
                  <a:gd name="T46" fmla="*/ 1206 w 1954"/>
                  <a:gd name="T47" fmla="*/ 235 h 1443"/>
                  <a:gd name="T48" fmla="*/ 1347 w 1954"/>
                  <a:gd name="T49" fmla="*/ 428 h 1443"/>
                  <a:gd name="T50" fmla="*/ 1389 w 1954"/>
                  <a:gd name="T51" fmla="*/ 312 h 1443"/>
                  <a:gd name="T52" fmla="*/ 1206 w 1954"/>
                  <a:gd name="T53" fmla="*/ 130 h 1443"/>
                  <a:gd name="T54" fmla="*/ 1024 w 1954"/>
                  <a:gd name="T55" fmla="*/ 312 h 1443"/>
                  <a:gd name="T56" fmla="*/ 1065 w 1954"/>
                  <a:gd name="T57" fmla="*/ 428 h 1443"/>
                  <a:gd name="T58" fmla="*/ 1096 w 1954"/>
                  <a:gd name="T59" fmla="*/ 431 h 1443"/>
                  <a:gd name="T60" fmla="*/ 1099 w 1954"/>
                  <a:gd name="T61" fmla="*/ 400 h 1443"/>
                  <a:gd name="T62" fmla="*/ 1068 w 1954"/>
                  <a:gd name="T63" fmla="*/ 312 h 1443"/>
                  <a:gd name="T64" fmla="*/ 1206 w 1954"/>
                  <a:gd name="T65" fmla="*/ 174 h 1443"/>
                  <a:gd name="T66" fmla="*/ 1345 w 1954"/>
                  <a:gd name="T67" fmla="*/ 312 h 1443"/>
                  <a:gd name="T68" fmla="*/ 1313 w 1954"/>
                  <a:gd name="T69" fmla="*/ 400 h 1443"/>
                  <a:gd name="T70" fmla="*/ 1316 w 1954"/>
                  <a:gd name="T71" fmla="*/ 431 h 1443"/>
                  <a:gd name="T72" fmla="*/ 1330 w 1954"/>
                  <a:gd name="T73" fmla="*/ 436 h 1443"/>
                  <a:gd name="T74" fmla="*/ 1347 w 1954"/>
                  <a:gd name="T75" fmla="*/ 428 h 1443"/>
                  <a:gd name="T76" fmla="*/ 1429 w 1954"/>
                  <a:gd name="T77" fmla="*/ 538 h 1443"/>
                  <a:gd name="T78" fmla="*/ 1522 w 1954"/>
                  <a:gd name="T79" fmla="*/ 315 h 1443"/>
                  <a:gd name="T80" fmla="*/ 1206 w 1954"/>
                  <a:gd name="T81" fmla="*/ 0 h 1443"/>
                  <a:gd name="T82" fmla="*/ 891 w 1954"/>
                  <a:gd name="T83" fmla="*/ 315 h 1443"/>
                  <a:gd name="T84" fmla="*/ 981 w 1954"/>
                  <a:gd name="T85" fmla="*/ 536 h 1443"/>
                  <a:gd name="T86" fmla="*/ 1012 w 1954"/>
                  <a:gd name="T87" fmla="*/ 536 h 1443"/>
                  <a:gd name="T88" fmla="*/ 1013 w 1954"/>
                  <a:gd name="T89" fmla="*/ 505 h 1443"/>
                  <a:gd name="T90" fmla="*/ 935 w 1954"/>
                  <a:gd name="T91" fmla="*/ 315 h 1443"/>
                  <a:gd name="T92" fmla="*/ 1206 w 1954"/>
                  <a:gd name="T93" fmla="*/ 44 h 1443"/>
                  <a:gd name="T94" fmla="*/ 1478 w 1954"/>
                  <a:gd name="T95" fmla="*/ 315 h 1443"/>
                  <a:gd name="T96" fmla="*/ 1398 w 1954"/>
                  <a:gd name="T97" fmla="*/ 507 h 1443"/>
                  <a:gd name="T98" fmla="*/ 1398 w 1954"/>
                  <a:gd name="T99" fmla="*/ 538 h 1443"/>
                  <a:gd name="T100" fmla="*/ 1414 w 1954"/>
                  <a:gd name="T101" fmla="*/ 544 h 1443"/>
                  <a:gd name="T102" fmla="*/ 1429 w 1954"/>
                  <a:gd name="T103" fmla="*/ 538 h 1443"/>
                  <a:gd name="T104" fmla="*/ 1944 w 1954"/>
                  <a:gd name="T105" fmla="*/ 694 h 1443"/>
                  <a:gd name="T106" fmla="*/ 1606 w 1954"/>
                  <a:gd name="T107" fmla="*/ 694 h 1443"/>
                  <a:gd name="T108" fmla="*/ 1596 w 1954"/>
                  <a:gd name="T109" fmla="*/ 704 h 1443"/>
                  <a:gd name="T110" fmla="*/ 1596 w 1954"/>
                  <a:gd name="T111" fmla="*/ 1249 h 1443"/>
                  <a:gd name="T112" fmla="*/ 1609 w 1954"/>
                  <a:gd name="T113" fmla="*/ 1286 h 1443"/>
                  <a:gd name="T114" fmla="*/ 1944 w 1954"/>
                  <a:gd name="T115" fmla="*/ 1286 h 1443"/>
                  <a:gd name="T116" fmla="*/ 1954 w 1954"/>
                  <a:gd name="T117" fmla="*/ 1276 h 1443"/>
                  <a:gd name="T118" fmla="*/ 1954 w 1954"/>
                  <a:gd name="T119" fmla="*/ 704 h 1443"/>
                  <a:gd name="T120" fmla="*/ 1944 w 1954"/>
                  <a:gd name="T121" fmla="*/ 694 h 1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54" h="1443">
                    <a:moveTo>
                      <a:pt x="1776" y="1443"/>
                    </a:moveTo>
                    <a:cubicBezTo>
                      <a:pt x="1757" y="1443"/>
                      <a:pt x="1741" y="1427"/>
                      <a:pt x="1741" y="1408"/>
                    </a:cubicBezTo>
                    <a:cubicBezTo>
                      <a:pt x="1741" y="1388"/>
                      <a:pt x="1757" y="1372"/>
                      <a:pt x="1776" y="1372"/>
                    </a:cubicBezTo>
                    <a:cubicBezTo>
                      <a:pt x="1796" y="1372"/>
                      <a:pt x="1812" y="1388"/>
                      <a:pt x="1812" y="1408"/>
                    </a:cubicBezTo>
                    <a:cubicBezTo>
                      <a:pt x="1812" y="1427"/>
                      <a:pt x="1796" y="1443"/>
                      <a:pt x="1776" y="1443"/>
                    </a:cubicBezTo>
                    <a:close/>
                    <a:moveTo>
                      <a:pt x="1876" y="640"/>
                    </a:moveTo>
                    <a:cubicBezTo>
                      <a:pt x="1876" y="628"/>
                      <a:pt x="1866" y="618"/>
                      <a:pt x="1854" y="618"/>
                    </a:cubicBezTo>
                    <a:cubicBezTo>
                      <a:pt x="1699" y="618"/>
                      <a:pt x="1699" y="618"/>
                      <a:pt x="1699" y="618"/>
                    </a:cubicBezTo>
                    <a:cubicBezTo>
                      <a:pt x="1687" y="618"/>
                      <a:pt x="1677" y="628"/>
                      <a:pt x="1677" y="640"/>
                    </a:cubicBezTo>
                    <a:cubicBezTo>
                      <a:pt x="1677" y="652"/>
                      <a:pt x="1687" y="662"/>
                      <a:pt x="1699" y="662"/>
                    </a:cubicBezTo>
                    <a:cubicBezTo>
                      <a:pt x="1854" y="662"/>
                      <a:pt x="1854" y="662"/>
                      <a:pt x="1854" y="662"/>
                    </a:cubicBezTo>
                    <a:cubicBezTo>
                      <a:pt x="1866" y="662"/>
                      <a:pt x="1876" y="652"/>
                      <a:pt x="1876" y="640"/>
                    </a:cubicBezTo>
                    <a:close/>
                    <a:moveTo>
                      <a:pt x="971" y="801"/>
                    </a:moveTo>
                    <a:cubicBezTo>
                      <a:pt x="10" y="801"/>
                      <a:pt x="10" y="801"/>
                      <a:pt x="10" y="801"/>
                    </a:cubicBezTo>
                    <a:cubicBezTo>
                      <a:pt x="5" y="801"/>
                      <a:pt x="0" y="805"/>
                      <a:pt x="0" y="811"/>
                    </a:cubicBezTo>
                    <a:cubicBezTo>
                      <a:pt x="0" y="1322"/>
                      <a:pt x="0" y="1322"/>
                      <a:pt x="0" y="1322"/>
                    </a:cubicBezTo>
                    <a:cubicBezTo>
                      <a:pt x="0" y="1328"/>
                      <a:pt x="5" y="1332"/>
                      <a:pt x="10" y="1332"/>
                    </a:cubicBezTo>
                    <a:cubicBezTo>
                      <a:pt x="787" y="1332"/>
                      <a:pt x="787" y="1332"/>
                      <a:pt x="787" y="1332"/>
                    </a:cubicBezTo>
                    <a:lnTo>
                      <a:pt x="971" y="801"/>
                    </a:lnTo>
                    <a:close/>
                    <a:moveTo>
                      <a:pt x="1206" y="235"/>
                    </a:moveTo>
                    <a:cubicBezTo>
                      <a:pt x="1163" y="235"/>
                      <a:pt x="1129" y="270"/>
                      <a:pt x="1129" y="312"/>
                    </a:cubicBezTo>
                    <a:cubicBezTo>
                      <a:pt x="1129" y="355"/>
                      <a:pt x="1163" y="390"/>
                      <a:pt x="1206" y="390"/>
                    </a:cubicBezTo>
                    <a:cubicBezTo>
                      <a:pt x="1249" y="390"/>
                      <a:pt x="1284" y="355"/>
                      <a:pt x="1284" y="312"/>
                    </a:cubicBezTo>
                    <a:cubicBezTo>
                      <a:pt x="1284" y="270"/>
                      <a:pt x="1249" y="235"/>
                      <a:pt x="1206" y="235"/>
                    </a:cubicBezTo>
                    <a:moveTo>
                      <a:pt x="1347" y="428"/>
                    </a:moveTo>
                    <a:cubicBezTo>
                      <a:pt x="1374" y="395"/>
                      <a:pt x="1389" y="354"/>
                      <a:pt x="1389" y="312"/>
                    </a:cubicBezTo>
                    <a:cubicBezTo>
                      <a:pt x="1389" y="212"/>
                      <a:pt x="1307" y="130"/>
                      <a:pt x="1206" y="130"/>
                    </a:cubicBezTo>
                    <a:cubicBezTo>
                      <a:pt x="1106" y="130"/>
                      <a:pt x="1024" y="212"/>
                      <a:pt x="1024" y="312"/>
                    </a:cubicBezTo>
                    <a:cubicBezTo>
                      <a:pt x="1024" y="354"/>
                      <a:pt x="1038" y="395"/>
                      <a:pt x="1065" y="428"/>
                    </a:cubicBezTo>
                    <a:cubicBezTo>
                      <a:pt x="1073" y="437"/>
                      <a:pt x="1087" y="439"/>
                      <a:pt x="1096" y="431"/>
                    </a:cubicBezTo>
                    <a:cubicBezTo>
                      <a:pt x="1105" y="423"/>
                      <a:pt x="1107" y="409"/>
                      <a:pt x="1099" y="400"/>
                    </a:cubicBezTo>
                    <a:cubicBezTo>
                      <a:pt x="1079" y="375"/>
                      <a:pt x="1068" y="344"/>
                      <a:pt x="1068" y="312"/>
                    </a:cubicBezTo>
                    <a:cubicBezTo>
                      <a:pt x="1068" y="236"/>
                      <a:pt x="1130" y="174"/>
                      <a:pt x="1206" y="174"/>
                    </a:cubicBezTo>
                    <a:cubicBezTo>
                      <a:pt x="1283" y="174"/>
                      <a:pt x="1345" y="236"/>
                      <a:pt x="1345" y="312"/>
                    </a:cubicBezTo>
                    <a:cubicBezTo>
                      <a:pt x="1345" y="344"/>
                      <a:pt x="1334" y="375"/>
                      <a:pt x="1313" y="400"/>
                    </a:cubicBezTo>
                    <a:cubicBezTo>
                      <a:pt x="1306" y="409"/>
                      <a:pt x="1307" y="423"/>
                      <a:pt x="1316" y="431"/>
                    </a:cubicBezTo>
                    <a:cubicBezTo>
                      <a:pt x="1320" y="434"/>
                      <a:pt x="1325" y="436"/>
                      <a:pt x="1330" y="436"/>
                    </a:cubicBezTo>
                    <a:cubicBezTo>
                      <a:pt x="1337" y="436"/>
                      <a:pt x="1343" y="433"/>
                      <a:pt x="1347" y="428"/>
                    </a:cubicBezTo>
                    <a:close/>
                    <a:moveTo>
                      <a:pt x="1429" y="538"/>
                    </a:moveTo>
                    <a:cubicBezTo>
                      <a:pt x="1489" y="478"/>
                      <a:pt x="1522" y="399"/>
                      <a:pt x="1522" y="315"/>
                    </a:cubicBezTo>
                    <a:cubicBezTo>
                      <a:pt x="1522" y="141"/>
                      <a:pt x="1380" y="0"/>
                      <a:pt x="1206" y="0"/>
                    </a:cubicBezTo>
                    <a:cubicBezTo>
                      <a:pt x="1032" y="0"/>
                      <a:pt x="891" y="141"/>
                      <a:pt x="891" y="315"/>
                    </a:cubicBezTo>
                    <a:cubicBezTo>
                      <a:pt x="891" y="398"/>
                      <a:pt x="923" y="477"/>
                      <a:pt x="981" y="536"/>
                    </a:cubicBezTo>
                    <a:cubicBezTo>
                      <a:pt x="990" y="545"/>
                      <a:pt x="1004" y="545"/>
                      <a:pt x="1012" y="536"/>
                    </a:cubicBezTo>
                    <a:cubicBezTo>
                      <a:pt x="1021" y="528"/>
                      <a:pt x="1021" y="514"/>
                      <a:pt x="1013" y="505"/>
                    </a:cubicBezTo>
                    <a:cubicBezTo>
                      <a:pt x="963" y="454"/>
                      <a:pt x="935" y="386"/>
                      <a:pt x="935" y="315"/>
                    </a:cubicBezTo>
                    <a:cubicBezTo>
                      <a:pt x="935" y="165"/>
                      <a:pt x="1057" y="44"/>
                      <a:pt x="1206" y="44"/>
                    </a:cubicBezTo>
                    <a:cubicBezTo>
                      <a:pt x="1356" y="44"/>
                      <a:pt x="1478" y="165"/>
                      <a:pt x="1478" y="315"/>
                    </a:cubicBezTo>
                    <a:cubicBezTo>
                      <a:pt x="1478" y="387"/>
                      <a:pt x="1449" y="455"/>
                      <a:pt x="1398" y="507"/>
                    </a:cubicBezTo>
                    <a:cubicBezTo>
                      <a:pt x="1389" y="515"/>
                      <a:pt x="1389" y="529"/>
                      <a:pt x="1398" y="538"/>
                    </a:cubicBezTo>
                    <a:cubicBezTo>
                      <a:pt x="1402" y="542"/>
                      <a:pt x="1408" y="544"/>
                      <a:pt x="1414" y="544"/>
                    </a:cubicBezTo>
                    <a:cubicBezTo>
                      <a:pt x="1419" y="544"/>
                      <a:pt x="1425" y="542"/>
                      <a:pt x="1429" y="538"/>
                    </a:cubicBezTo>
                    <a:close/>
                    <a:moveTo>
                      <a:pt x="1944" y="694"/>
                    </a:moveTo>
                    <a:cubicBezTo>
                      <a:pt x="1606" y="694"/>
                      <a:pt x="1606" y="694"/>
                      <a:pt x="1606" y="694"/>
                    </a:cubicBezTo>
                    <a:cubicBezTo>
                      <a:pt x="1601" y="694"/>
                      <a:pt x="1596" y="699"/>
                      <a:pt x="1596" y="704"/>
                    </a:cubicBezTo>
                    <a:cubicBezTo>
                      <a:pt x="1596" y="1249"/>
                      <a:pt x="1596" y="1249"/>
                      <a:pt x="1596" y="1249"/>
                    </a:cubicBezTo>
                    <a:cubicBezTo>
                      <a:pt x="1609" y="1286"/>
                      <a:pt x="1609" y="1286"/>
                      <a:pt x="1609" y="1286"/>
                    </a:cubicBezTo>
                    <a:cubicBezTo>
                      <a:pt x="1944" y="1286"/>
                      <a:pt x="1944" y="1286"/>
                      <a:pt x="1944" y="1286"/>
                    </a:cubicBezTo>
                    <a:cubicBezTo>
                      <a:pt x="1949" y="1286"/>
                      <a:pt x="1954" y="1282"/>
                      <a:pt x="1954" y="1276"/>
                    </a:cubicBezTo>
                    <a:cubicBezTo>
                      <a:pt x="1954" y="704"/>
                      <a:pt x="1954" y="704"/>
                      <a:pt x="1954" y="704"/>
                    </a:cubicBezTo>
                    <a:cubicBezTo>
                      <a:pt x="1954" y="699"/>
                      <a:pt x="1949" y="694"/>
                      <a:pt x="1944" y="6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05" name="Group 204">
            <a:extLst>
              <a:ext uri="{FF2B5EF4-FFF2-40B4-BE49-F238E27FC236}">
                <a16:creationId xmlns:a16="http://schemas.microsoft.com/office/drawing/2014/main" id="{8835C24A-1017-4B9D-9D5B-79B1C246AAE7}"/>
              </a:ext>
            </a:extLst>
          </p:cNvPr>
          <p:cNvGrpSpPr/>
          <p:nvPr/>
        </p:nvGrpSpPr>
        <p:grpSpPr>
          <a:xfrm>
            <a:off x="9909955" y="1122815"/>
            <a:ext cx="676323" cy="763575"/>
            <a:chOff x="9909955" y="1122815"/>
            <a:chExt cx="676323" cy="763575"/>
          </a:xfrm>
        </p:grpSpPr>
        <p:sp>
          <p:nvSpPr>
            <p:cNvPr id="189" name="Oval 188">
              <a:extLst>
                <a:ext uri="{FF2B5EF4-FFF2-40B4-BE49-F238E27FC236}">
                  <a16:creationId xmlns:a16="http://schemas.microsoft.com/office/drawing/2014/main" id="{A49F4B92-581C-4DC6-91CA-A0168D8084D5}"/>
                </a:ext>
              </a:extLst>
            </p:cNvPr>
            <p:cNvSpPr/>
            <p:nvPr/>
          </p:nvSpPr>
          <p:spPr>
            <a:xfrm>
              <a:off x="9909955" y="1613257"/>
              <a:ext cx="676323" cy="273133"/>
            </a:xfrm>
            <a:prstGeom prst="ellipse">
              <a:avLst/>
            </a:prstGeom>
            <a:gradFill flip="none" rotWithShape="1">
              <a:gsLst>
                <a:gs pos="0">
                  <a:schemeClr val="bg2">
                    <a:lumMod val="10000"/>
                    <a:alpha val="70000"/>
                  </a:schemeClr>
                </a:gs>
                <a:gs pos="100000">
                  <a:schemeClr val="bg2">
                    <a:lumMod val="1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a:solidFill>
                  <a:schemeClr val="bg1"/>
                </a:solidFill>
              </a:endParaRPr>
            </a:p>
          </p:txBody>
        </p:sp>
        <p:sp>
          <p:nvSpPr>
            <p:cNvPr id="190" name="Oval 189">
              <a:extLst>
                <a:ext uri="{FF2B5EF4-FFF2-40B4-BE49-F238E27FC236}">
                  <a16:creationId xmlns:a16="http://schemas.microsoft.com/office/drawing/2014/main" id="{47C91EE2-2422-48F7-8FFE-B6BCDC621F14}"/>
                </a:ext>
              </a:extLst>
            </p:cNvPr>
            <p:cNvSpPr/>
            <p:nvPr/>
          </p:nvSpPr>
          <p:spPr>
            <a:xfrm>
              <a:off x="9909955" y="1122815"/>
              <a:ext cx="676323" cy="676324"/>
            </a:xfrm>
            <a:prstGeom prst="ellipse">
              <a:avLst/>
            </a:prstGeom>
            <a:gradFill flip="none" rotWithShape="1">
              <a:gsLst>
                <a:gs pos="0">
                  <a:schemeClr val="accent1"/>
                </a:gs>
                <a:gs pos="100000">
                  <a:schemeClr val="tx2"/>
                </a:gs>
              </a:gsLst>
              <a:lin ang="135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algn="ctr"/>
              <a:endParaRPr lang="en-US" b="1">
                <a:solidFill>
                  <a:srgbClr val="FFFFFF"/>
                </a:solidFill>
              </a:endParaRPr>
            </a:p>
          </p:txBody>
        </p:sp>
        <p:grpSp>
          <p:nvGrpSpPr>
            <p:cNvPr id="140" name="bcgIcons_Cross-functional ">
              <a:extLst>
                <a:ext uri="{FF2B5EF4-FFF2-40B4-BE49-F238E27FC236}">
                  <a16:creationId xmlns:a16="http://schemas.microsoft.com/office/drawing/2014/main" id="{2666770B-14F5-4CB7-873F-83B97FA2EE25}"/>
                </a:ext>
              </a:extLst>
            </p:cNvPr>
            <p:cNvGrpSpPr>
              <a:grpSpLocks noChangeAspect="1"/>
            </p:cNvGrpSpPr>
            <p:nvPr/>
          </p:nvGrpSpPr>
          <p:grpSpPr>
            <a:xfrm>
              <a:off x="10019502" y="1232362"/>
              <a:ext cx="457230" cy="457230"/>
              <a:chOff x="2667000" y="0"/>
              <a:chExt cx="6858000" cy="6858000"/>
            </a:xfrm>
          </p:grpSpPr>
          <p:sp>
            <p:nvSpPr>
              <p:cNvPr id="141" name="AutoShape 3">
                <a:extLst>
                  <a:ext uri="{FF2B5EF4-FFF2-40B4-BE49-F238E27FC236}">
                    <a16:creationId xmlns:a16="http://schemas.microsoft.com/office/drawing/2014/main" id="{A9B4E29A-030C-4993-B664-1CFAEF91F4A7}"/>
                  </a:ext>
                </a:extLst>
              </p:cNvPr>
              <p:cNvSpPr>
                <a:spLocks noChangeAspect="1" noChangeArrowheads="1" noTextEdit="1"/>
              </p:cNvSpPr>
              <p:nvPr/>
            </p:nvSpPr>
            <p:spPr bwMode="auto">
              <a:xfrm>
                <a:off x="2667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2" name="Group 141">
                <a:extLst>
                  <a:ext uri="{FF2B5EF4-FFF2-40B4-BE49-F238E27FC236}">
                    <a16:creationId xmlns:a16="http://schemas.microsoft.com/office/drawing/2014/main" id="{1AECFF4B-1F75-443C-8764-90EC982755EE}"/>
                  </a:ext>
                </a:extLst>
              </p:cNvPr>
              <p:cNvGrpSpPr/>
              <p:nvPr/>
            </p:nvGrpSpPr>
            <p:grpSpPr>
              <a:xfrm>
                <a:off x="3813350" y="1143175"/>
                <a:ext cx="4565300" cy="4565300"/>
                <a:chOff x="3813351" y="1143176"/>
                <a:chExt cx="4565299" cy="4565299"/>
              </a:xfrm>
            </p:grpSpPr>
            <p:sp>
              <p:nvSpPr>
                <p:cNvPr id="143" name="Freeform 38">
                  <a:extLst>
                    <a:ext uri="{FF2B5EF4-FFF2-40B4-BE49-F238E27FC236}">
                      <a16:creationId xmlns:a16="http://schemas.microsoft.com/office/drawing/2014/main" id="{80DAA978-2D7A-4A26-8934-5ED4F36F7AD4}"/>
                    </a:ext>
                  </a:extLst>
                </p:cNvPr>
                <p:cNvSpPr>
                  <a:spLocks/>
                </p:cNvSpPr>
                <p:nvPr/>
              </p:nvSpPr>
              <p:spPr bwMode="auto">
                <a:xfrm>
                  <a:off x="3813351" y="1155863"/>
                  <a:ext cx="4552666" cy="4546262"/>
                </a:xfrm>
                <a:custGeom>
                  <a:avLst/>
                  <a:gdLst>
                    <a:gd name="connsiteX0" fmla="*/ 809844 w 4552665"/>
                    <a:gd name="connsiteY0" fmla="*/ 3276435 h 4546260"/>
                    <a:gd name="connsiteX1" fmla="*/ 455794 w 4552665"/>
                    <a:gd name="connsiteY1" fmla="*/ 3505490 h 4546260"/>
                    <a:gd name="connsiteX2" fmla="*/ 580753 w 4552665"/>
                    <a:gd name="connsiteY2" fmla="*/ 3951699 h 4546260"/>
                    <a:gd name="connsiteX3" fmla="*/ 580753 w 4552665"/>
                    <a:gd name="connsiteY3" fmla="*/ 4162905 h 4546260"/>
                    <a:gd name="connsiteX4" fmla="*/ 592654 w 4552665"/>
                    <a:gd name="connsiteY4" fmla="*/ 4183729 h 4546260"/>
                    <a:gd name="connsiteX5" fmla="*/ 928853 w 4552665"/>
                    <a:gd name="connsiteY5" fmla="*/ 4243223 h 4546260"/>
                    <a:gd name="connsiteX6" fmla="*/ 949679 w 4552665"/>
                    <a:gd name="connsiteY6" fmla="*/ 4219425 h 4546260"/>
                    <a:gd name="connsiteX7" fmla="*/ 949679 w 4552665"/>
                    <a:gd name="connsiteY7" fmla="*/ 4073663 h 4546260"/>
                    <a:gd name="connsiteX8" fmla="*/ 1122242 w 4552665"/>
                    <a:gd name="connsiteY8" fmla="*/ 4064739 h 4546260"/>
                    <a:gd name="connsiteX9" fmla="*/ 1149019 w 4552665"/>
                    <a:gd name="connsiteY9" fmla="*/ 3969548 h 4546260"/>
                    <a:gd name="connsiteX10" fmla="*/ 1149019 w 4552665"/>
                    <a:gd name="connsiteY10" fmla="*/ 3963598 h 4546260"/>
                    <a:gd name="connsiteX11" fmla="*/ 1146043 w 4552665"/>
                    <a:gd name="connsiteY11" fmla="*/ 3847584 h 4546260"/>
                    <a:gd name="connsiteX12" fmla="*/ 1232325 w 4552665"/>
                    <a:gd name="connsiteY12" fmla="*/ 3802963 h 4546260"/>
                    <a:gd name="connsiteX13" fmla="*/ 1190672 w 4552665"/>
                    <a:gd name="connsiteY13" fmla="*/ 3722645 h 4546260"/>
                    <a:gd name="connsiteX14" fmla="*/ 1184721 w 4552665"/>
                    <a:gd name="connsiteY14" fmla="*/ 3713721 h 4546260"/>
                    <a:gd name="connsiteX15" fmla="*/ 1149019 w 4552665"/>
                    <a:gd name="connsiteY15" fmla="*/ 3645302 h 4546260"/>
                    <a:gd name="connsiteX16" fmla="*/ 1140093 w 4552665"/>
                    <a:gd name="connsiteY16" fmla="*/ 3609605 h 4546260"/>
                    <a:gd name="connsiteX17" fmla="*/ 1125217 w 4552665"/>
                    <a:gd name="connsiteY17" fmla="*/ 3556060 h 4546260"/>
                    <a:gd name="connsiteX18" fmla="*/ 1113316 w 4552665"/>
                    <a:gd name="connsiteY18" fmla="*/ 3457894 h 4546260"/>
                    <a:gd name="connsiteX19" fmla="*/ 1125217 w 4552665"/>
                    <a:gd name="connsiteY19" fmla="*/ 3460869 h 4546260"/>
                    <a:gd name="connsiteX20" fmla="*/ 1128192 w 4552665"/>
                    <a:gd name="connsiteY20" fmla="*/ 3457894 h 4546260"/>
                    <a:gd name="connsiteX21" fmla="*/ 1184721 w 4552665"/>
                    <a:gd name="connsiteY21" fmla="*/ 3332955 h 4546260"/>
                    <a:gd name="connsiteX22" fmla="*/ 809844 w 4552665"/>
                    <a:gd name="connsiteY22" fmla="*/ 3276435 h 4546260"/>
                    <a:gd name="connsiteX23" fmla="*/ 2000716 w 4552665"/>
                    <a:gd name="connsiteY23" fmla="*/ 2490967 h 4546260"/>
                    <a:gd name="connsiteX24" fmla="*/ 2044233 w 4552665"/>
                    <a:gd name="connsiteY24" fmla="*/ 2511050 h 4546260"/>
                    <a:gd name="connsiteX25" fmla="*/ 2285251 w 4552665"/>
                    <a:gd name="connsiteY25" fmla="*/ 2612206 h 4546260"/>
                    <a:gd name="connsiteX26" fmla="*/ 2347737 w 4552665"/>
                    <a:gd name="connsiteY26" fmla="*/ 2671709 h 4546260"/>
                    <a:gd name="connsiteX27" fmla="*/ 2285251 w 4552665"/>
                    <a:gd name="connsiteY27" fmla="*/ 2734188 h 4546260"/>
                    <a:gd name="connsiteX28" fmla="*/ 2002576 w 4552665"/>
                    <a:gd name="connsiteY28" fmla="*/ 2638982 h 4546260"/>
                    <a:gd name="connsiteX29" fmla="*/ 1489786 w 4552665"/>
                    <a:gd name="connsiteY29" fmla="*/ 3149463 h 4546260"/>
                    <a:gd name="connsiteX30" fmla="*/ 1459090 w 4552665"/>
                    <a:gd name="connsiteY30" fmla="*/ 3180022 h 4546260"/>
                    <a:gd name="connsiteX31" fmla="*/ 1470636 w 4552665"/>
                    <a:gd name="connsiteY31" fmla="*/ 3192791 h 4546260"/>
                    <a:gd name="connsiteX32" fmla="*/ 1413586 w 4552665"/>
                    <a:gd name="connsiteY32" fmla="*/ 4302847 h 4546260"/>
                    <a:gd name="connsiteX33" fmla="*/ 243414 w 4552665"/>
                    <a:gd name="connsiteY33" fmla="*/ 4302847 h 4546260"/>
                    <a:gd name="connsiteX34" fmla="*/ 243414 w 4552665"/>
                    <a:gd name="connsiteY34" fmla="*/ 3129697 h 4546260"/>
                    <a:gd name="connsiteX35" fmla="*/ 829616 w 4552665"/>
                    <a:gd name="connsiteY35" fmla="*/ 2888517 h 4546260"/>
                    <a:gd name="connsiteX36" fmla="*/ 1351016 w 4552665"/>
                    <a:gd name="connsiteY36" fmla="*/ 3073171 h 4546260"/>
                    <a:gd name="connsiteX37" fmla="*/ 1372957 w 4552665"/>
                    <a:gd name="connsiteY37" fmla="*/ 3092992 h 4546260"/>
                    <a:gd name="connsiteX38" fmla="*/ 1474566 w 4552665"/>
                    <a:gd name="connsiteY38" fmla="*/ 2991395 h 4546260"/>
                    <a:gd name="connsiteX39" fmla="*/ 1954968 w 4552665"/>
                    <a:gd name="connsiteY39" fmla="*/ 2511050 h 4546260"/>
                    <a:gd name="connsiteX40" fmla="*/ 2000716 w 4552665"/>
                    <a:gd name="connsiteY40" fmla="*/ 2490967 h 4546260"/>
                    <a:gd name="connsiteX41" fmla="*/ 2285824 w 4552665"/>
                    <a:gd name="connsiteY41" fmla="*/ 2085810 h 4546260"/>
                    <a:gd name="connsiteX42" fmla="*/ 2473149 w 4552665"/>
                    <a:gd name="connsiteY42" fmla="*/ 2267579 h 4546260"/>
                    <a:gd name="connsiteX43" fmla="*/ 2285824 w 4552665"/>
                    <a:gd name="connsiteY43" fmla="*/ 2449348 h 4546260"/>
                    <a:gd name="connsiteX44" fmla="*/ 2098499 w 4552665"/>
                    <a:gd name="connsiteY44" fmla="*/ 2267579 h 4546260"/>
                    <a:gd name="connsiteX45" fmla="*/ 2285824 w 4552665"/>
                    <a:gd name="connsiteY45" fmla="*/ 2085810 h 4546260"/>
                    <a:gd name="connsiteX46" fmla="*/ 3271463 w 4552665"/>
                    <a:gd name="connsiteY46" fmla="*/ 853910 h 4546260"/>
                    <a:gd name="connsiteX47" fmla="*/ 3244674 w 4552665"/>
                    <a:gd name="connsiteY47" fmla="*/ 883628 h 4546260"/>
                    <a:gd name="connsiteX48" fmla="*/ 3244674 w 4552665"/>
                    <a:gd name="connsiteY48" fmla="*/ 1201611 h 4546260"/>
                    <a:gd name="connsiteX49" fmla="*/ 3271463 w 4552665"/>
                    <a:gd name="connsiteY49" fmla="*/ 1225385 h 4546260"/>
                    <a:gd name="connsiteX50" fmla="*/ 3408385 w 4552665"/>
                    <a:gd name="connsiteY50" fmla="*/ 1225385 h 4546260"/>
                    <a:gd name="connsiteX51" fmla="*/ 3435174 w 4552665"/>
                    <a:gd name="connsiteY51" fmla="*/ 1201611 h 4546260"/>
                    <a:gd name="connsiteX52" fmla="*/ 3435174 w 4552665"/>
                    <a:gd name="connsiteY52" fmla="*/ 883628 h 4546260"/>
                    <a:gd name="connsiteX53" fmla="*/ 3408385 w 4552665"/>
                    <a:gd name="connsiteY53" fmla="*/ 853910 h 4546260"/>
                    <a:gd name="connsiteX54" fmla="*/ 3271463 w 4552665"/>
                    <a:gd name="connsiteY54" fmla="*/ 853910 h 4546260"/>
                    <a:gd name="connsiteX55" fmla="*/ 3503238 w 4552665"/>
                    <a:gd name="connsiteY55" fmla="*/ 707860 h 4546260"/>
                    <a:gd name="connsiteX56" fmla="*/ 3476449 w 4552665"/>
                    <a:gd name="connsiteY56" fmla="*/ 734629 h 4546260"/>
                    <a:gd name="connsiteX57" fmla="*/ 3476449 w 4552665"/>
                    <a:gd name="connsiteY57" fmla="*/ 1201591 h 4546260"/>
                    <a:gd name="connsiteX58" fmla="*/ 3503238 w 4552665"/>
                    <a:gd name="connsiteY58" fmla="*/ 1225385 h 4546260"/>
                    <a:gd name="connsiteX59" fmla="*/ 3643137 w 4552665"/>
                    <a:gd name="connsiteY59" fmla="*/ 1225385 h 4546260"/>
                    <a:gd name="connsiteX60" fmla="*/ 3666949 w 4552665"/>
                    <a:gd name="connsiteY60" fmla="*/ 1201591 h 4546260"/>
                    <a:gd name="connsiteX61" fmla="*/ 3666949 w 4552665"/>
                    <a:gd name="connsiteY61" fmla="*/ 734629 h 4546260"/>
                    <a:gd name="connsiteX62" fmla="*/ 3643137 w 4552665"/>
                    <a:gd name="connsiteY62" fmla="*/ 707860 h 4546260"/>
                    <a:gd name="connsiteX63" fmla="*/ 3503238 w 4552665"/>
                    <a:gd name="connsiteY63" fmla="*/ 707860 h 4546260"/>
                    <a:gd name="connsiteX64" fmla="*/ 3735212 w 4552665"/>
                    <a:gd name="connsiteY64" fmla="*/ 545935 h 4546260"/>
                    <a:gd name="connsiteX65" fmla="*/ 3711399 w 4552665"/>
                    <a:gd name="connsiteY65" fmla="*/ 572755 h 4546260"/>
                    <a:gd name="connsiteX66" fmla="*/ 3711399 w 4552665"/>
                    <a:gd name="connsiteY66" fmla="*/ 1201545 h 4546260"/>
                    <a:gd name="connsiteX67" fmla="*/ 3735212 w 4552665"/>
                    <a:gd name="connsiteY67" fmla="*/ 1225385 h 4546260"/>
                    <a:gd name="connsiteX68" fmla="*/ 3875110 w 4552665"/>
                    <a:gd name="connsiteY68" fmla="*/ 1225385 h 4546260"/>
                    <a:gd name="connsiteX69" fmla="*/ 3901899 w 4552665"/>
                    <a:gd name="connsiteY69" fmla="*/ 1201545 h 4546260"/>
                    <a:gd name="connsiteX70" fmla="*/ 3901899 w 4552665"/>
                    <a:gd name="connsiteY70" fmla="*/ 572755 h 4546260"/>
                    <a:gd name="connsiteX71" fmla="*/ 3875110 w 4552665"/>
                    <a:gd name="connsiteY71" fmla="*/ 545935 h 4546260"/>
                    <a:gd name="connsiteX72" fmla="*/ 3735212 w 4552665"/>
                    <a:gd name="connsiteY72" fmla="*/ 545935 h 4546260"/>
                    <a:gd name="connsiteX73" fmla="*/ 3970162 w 4552665"/>
                    <a:gd name="connsiteY73" fmla="*/ 334798 h 4546260"/>
                    <a:gd name="connsiteX74" fmla="*/ 3946349 w 4552665"/>
                    <a:gd name="connsiteY74" fmla="*/ 364584 h 4546260"/>
                    <a:gd name="connsiteX75" fmla="*/ 3946349 w 4552665"/>
                    <a:gd name="connsiteY75" fmla="*/ 1201558 h 4546260"/>
                    <a:gd name="connsiteX76" fmla="*/ 3970162 w 4552665"/>
                    <a:gd name="connsiteY76" fmla="*/ 1225386 h 4546260"/>
                    <a:gd name="connsiteX77" fmla="*/ 4107084 w 4552665"/>
                    <a:gd name="connsiteY77" fmla="*/ 1225386 h 4546260"/>
                    <a:gd name="connsiteX78" fmla="*/ 4136849 w 4552665"/>
                    <a:gd name="connsiteY78" fmla="*/ 1201558 h 4546260"/>
                    <a:gd name="connsiteX79" fmla="*/ 4136849 w 4552665"/>
                    <a:gd name="connsiteY79" fmla="*/ 364584 h 4546260"/>
                    <a:gd name="connsiteX80" fmla="*/ 4107084 w 4552665"/>
                    <a:gd name="connsiteY80" fmla="*/ 334798 h 4546260"/>
                    <a:gd name="connsiteX81" fmla="*/ 3970162 w 4552665"/>
                    <a:gd name="connsiteY81" fmla="*/ 334798 h 4546260"/>
                    <a:gd name="connsiteX82" fmla="*/ 3723359 w 4552665"/>
                    <a:gd name="connsiteY82" fmla="*/ 0 h 4546260"/>
                    <a:gd name="connsiteX83" fmla="*/ 4309452 w 4552665"/>
                    <a:gd name="connsiteY83" fmla="*/ 243379 h 4546260"/>
                    <a:gd name="connsiteX84" fmla="*/ 4309452 w 4552665"/>
                    <a:gd name="connsiteY84" fmla="*/ 1410410 h 4546260"/>
                    <a:gd name="connsiteX85" fmla="*/ 3184867 w 4552665"/>
                    <a:gd name="connsiteY85" fmla="*/ 1455067 h 4546260"/>
                    <a:gd name="connsiteX86" fmla="*/ 2613649 w 4552665"/>
                    <a:gd name="connsiteY86" fmla="*/ 2023696 h 4546260"/>
                    <a:gd name="connsiteX87" fmla="*/ 2569023 w 4552665"/>
                    <a:gd name="connsiteY87" fmla="*/ 2044536 h 4546260"/>
                    <a:gd name="connsiteX88" fmla="*/ 2527372 w 4552665"/>
                    <a:gd name="connsiteY88" fmla="*/ 2023696 h 4546260"/>
                    <a:gd name="connsiteX89" fmla="*/ 2286389 w 4552665"/>
                    <a:gd name="connsiteY89" fmla="*/ 1925451 h 4546260"/>
                    <a:gd name="connsiteX90" fmla="*/ 2223912 w 4552665"/>
                    <a:gd name="connsiteY90" fmla="*/ 1862932 h 4546260"/>
                    <a:gd name="connsiteX91" fmla="*/ 2286389 w 4552665"/>
                    <a:gd name="connsiteY91" fmla="*/ 1803390 h 4546260"/>
                    <a:gd name="connsiteX92" fmla="*/ 2566048 w 4552665"/>
                    <a:gd name="connsiteY92" fmla="*/ 1898657 h 4546260"/>
                    <a:gd name="connsiteX93" fmla="*/ 3098589 w 4552665"/>
                    <a:gd name="connsiteY93" fmla="*/ 1368730 h 4546260"/>
                    <a:gd name="connsiteX94" fmla="*/ 3137266 w 4552665"/>
                    <a:gd name="connsiteY94" fmla="*/ 243379 h 4546260"/>
                    <a:gd name="connsiteX95" fmla="*/ 3723359 w 4552665"/>
                    <a:gd name="connsiteY95" fmla="*/ 0 h 454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552665" h="4546260">
                      <a:moveTo>
                        <a:pt x="809844" y="3276435"/>
                      </a:moveTo>
                      <a:cubicBezTo>
                        <a:pt x="604554" y="3276435"/>
                        <a:pt x="503397" y="3401374"/>
                        <a:pt x="455794" y="3505490"/>
                      </a:cubicBezTo>
                      <a:cubicBezTo>
                        <a:pt x="366537" y="3689923"/>
                        <a:pt x="512323" y="3877331"/>
                        <a:pt x="580753" y="3951699"/>
                      </a:cubicBezTo>
                      <a:cubicBezTo>
                        <a:pt x="580753" y="3951699"/>
                        <a:pt x="580753" y="3951699"/>
                        <a:pt x="580753" y="4162905"/>
                      </a:cubicBezTo>
                      <a:cubicBezTo>
                        <a:pt x="580753" y="4171830"/>
                        <a:pt x="583728" y="4180754"/>
                        <a:pt x="592654" y="4183729"/>
                      </a:cubicBezTo>
                      <a:cubicBezTo>
                        <a:pt x="732489" y="4240248"/>
                        <a:pt x="913977" y="4243223"/>
                        <a:pt x="928853" y="4243223"/>
                      </a:cubicBezTo>
                      <a:cubicBezTo>
                        <a:pt x="940754" y="4243223"/>
                        <a:pt x="949679" y="4231324"/>
                        <a:pt x="949679" y="4219425"/>
                      </a:cubicBezTo>
                      <a:cubicBezTo>
                        <a:pt x="949679" y="4219425"/>
                        <a:pt x="949679" y="4219425"/>
                        <a:pt x="949679" y="4073663"/>
                      </a:cubicBezTo>
                      <a:cubicBezTo>
                        <a:pt x="1035960" y="4082588"/>
                        <a:pt x="1101415" y="4073663"/>
                        <a:pt x="1122242" y="4064739"/>
                      </a:cubicBezTo>
                      <a:cubicBezTo>
                        <a:pt x="1146043" y="4049866"/>
                        <a:pt x="1146043" y="4023093"/>
                        <a:pt x="1149019" y="3969548"/>
                      </a:cubicBezTo>
                      <a:cubicBezTo>
                        <a:pt x="1149019" y="3969548"/>
                        <a:pt x="1149019" y="3969548"/>
                        <a:pt x="1149019" y="3963598"/>
                      </a:cubicBezTo>
                      <a:cubicBezTo>
                        <a:pt x="1151994" y="3930876"/>
                        <a:pt x="1149019" y="3877331"/>
                        <a:pt x="1146043" y="3847584"/>
                      </a:cubicBezTo>
                      <a:cubicBezTo>
                        <a:pt x="1208523" y="3847584"/>
                        <a:pt x="1226374" y="3811887"/>
                        <a:pt x="1232325" y="3802963"/>
                      </a:cubicBezTo>
                      <a:cubicBezTo>
                        <a:pt x="1241250" y="3776190"/>
                        <a:pt x="1214473" y="3752392"/>
                        <a:pt x="1190672" y="3722645"/>
                      </a:cubicBezTo>
                      <a:cubicBezTo>
                        <a:pt x="1190672" y="3719670"/>
                        <a:pt x="1187696" y="3716696"/>
                        <a:pt x="1184721" y="3713721"/>
                      </a:cubicBezTo>
                      <a:cubicBezTo>
                        <a:pt x="1172820" y="3704797"/>
                        <a:pt x="1157944" y="3678024"/>
                        <a:pt x="1149019" y="3645302"/>
                      </a:cubicBezTo>
                      <a:cubicBezTo>
                        <a:pt x="1146043" y="3639353"/>
                        <a:pt x="1143068" y="3624479"/>
                        <a:pt x="1140093" y="3609605"/>
                      </a:cubicBezTo>
                      <a:cubicBezTo>
                        <a:pt x="1137118" y="3591757"/>
                        <a:pt x="1131167" y="3570934"/>
                        <a:pt x="1125217" y="3556060"/>
                      </a:cubicBezTo>
                      <a:cubicBezTo>
                        <a:pt x="1119266" y="3538212"/>
                        <a:pt x="1116291" y="3484667"/>
                        <a:pt x="1113316" y="3457894"/>
                      </a:cubicBezTo>
                      <a:cubicBezTo>
                        <a:pt x="1116291" y="3457894"/>
                        <a:pt x="1122242" y="3460869"/>
                        <a:pt x="1125217" y="3460869"/>
                      </a:cubicBezTo>
                      <a:cubicBezTo>
                        <a:pt x="1125217" y="3460869"/>
                        <a:pt x="1125217" y="3460869"/>
                        <a:pt x="1128192" y="3457894"/>
                      </a:cubicBezTo>
                      <a:cubicBezTo>
                        <a:pt x="1140093" y="3410298"/>
                        <a:pt x="1205548" y="3332955"/>
                        <a:pt x="1184721" y="3332955"/>
                      </a:cubicBezTo>
                      <a:cubicBezTo>
                        <a:pt x="970506" y="3335930"/>
                        <a:pt x="1038936" y="3276435"/>
                        <a:pt x="809844" y="3276435"/>
                      </a:cubicBezTo>
                      <a:close/>
                      <a:moveTo>
                        <a:pt x="2000716" y="2490967"/>
                      </a:moveTo>
                      <a:cubicBezTo>
                        <a:pt x="2016710" y="2490967"/>
                        <a:pt x="2032331" y="2497661"/>
                        <a:pt x="2044233" y="2511050"/>
                      </a:cubicBezTo>
                      <a:cubicBezTo>
                        <a:pt x="2106719" y="2573528"/>
                        <a:pt x="2193010" y="2612206"/>
                        <a:pt x="2285251" y="2612206"/>
                      </a:cubicBezTo>
                      <a:cubicBezTo>
                        <a:pt x="2320957" y="2612206"/>
                        <a:pt x="2347737" y="2638982"/>
                        <a:pt x="2347737" y="2671709"/>
                      </a:cubicBezTo>
                      <a:cubicBezTo>
                        <a:pt x="2347737" y="2704436"/>
                        <a:pt x="2320957" y="2734188"/>
                        <a:pt x="2285251" y="2734188"/>
                      </a:cubicBezTo>
                      <a:cubicBezTo>
                        <a:pt x="2184083" y="2734188"/>
                        <a:pt x="2085891" y="2701461"/>
                        <a:pt x="2002576" y="2638982"/>
                      </a:cubicBezTo>
                      <a:cubicBezTo>
                        <a:pt x="1748169" y="2892244"/>
                        <a:pt x="1589164" y="3050533"/>
                        <a:pt x="1489786" y="3149463"/>
                      </a:cubicBezTo>
                      <a:lnTo>
                        <a:pt x="1459090" y="3180022"/>
                      </a:lnTo>
                      <a:lnTo>
                        <a:pt x="1470636" y="3192791"/>
                      </a:lnTo>
                      <a:cubicBezTo>
                        <a:pt x="1736869" y="3518976"/>
                        <a:pt x="1717852" y="3998580"/>
                        <a:pt x="1413586" y="4302847"/>
                      </a:cubicBezTo>
                      <a:cubicBezTo>
                        <a:pt x="1092012" y="4627398"/>
                        <a:pt x="567965" y="4627398"/>
                        <a:pt x="243414" y="4302847"/>
                      </a:cubicBezTo>
                      <a:cubicBezTo>
                        <a:pt x="-81138" y="3978295"/>
                        <a:pt x="-81138" y="3454249"/>
                        <a:pt x="243414" y="3129697"/>
                      </a:cubicBezTo>
                      <a:cubicBezTo>
                        <a:pt x="405690" y="2968910"/>
                        <a:pt x="617839" y="2888517"/>
                        <a:pt x="829616" y="2888517"/>
                      </a:cubicBezTo>
                      <a:cubicBezTo>
                        <a:pt x="1014922" y="2888517"/>
                        <a:pt x="1199942" y="2950068"/>
                        <a:pt x="1351016" y="3073171"/>
                      </a:cubicBezTo>
                      <a:lnTo>
                        <a:pt x="1372957" y="3092992"/>
                      </a:lnTo>
                      <a:lnTo>
                        <a:pt x="1474566" y="2991395"/>
                      </a:lnTo>
                      <a:cubicBezTo>
                        <a:pt x="1954968" y="2511050"/>
                        <a:pt x="1954968" y="2511050"/>
                        <a:pt x="1954968" y="2511050"/>
                      </a:cubicBezTo>
                      <a:cubicBezTo>
                        <a:pt x="1968358" y="2497661"/>
                        <a:pt x="1984723" y="2490967"/>
                        <a:pt x="2000716" y="2490967"/>
                      </a:cubicBezTo>
                      <a:close/>
                      <a:moveTo>
                        <a:pt x="2285824" y="2085810"/>
                      </a:moveTo>
                      <a:cubicBezTo>
                        <a:pt x="2389281" y="2085810"/>
                        <a:pt x="2473149" y="2167191"/>
                        <a:pt x="2473149" y="2267579"/>
                      </a:cubicBezTo>
                      <a:cubicBezTo>
                        <a:pt x="2473149" y="2367967"/>
                        <a:pt x="2389281" y="2449348"/>
                        <a:pt x="2285824" y="2449348"/>
                      </a:cubicBezTo>
                      <a:cubicBezTo>
                        <a:pt x="2182367" y="2449348"/>
                        <a:pt x="2098499" y="2367967"/>
                        <a:pt x="2098499" y="2267579"/>
                      </a:cubicBezTo>
                      <a:cubicBezTo>
                        <a:pt x="2098499" y="2167191"/>
                        <a:pt x="2182367" y="2085810"/>
                        <a:pt x="2285824" y="2085810"/>
                      </a:cubicBezTo>
                      <a:close/>
                      <a:moveTo>
                        <a:pt x="3271463" y="853910"/>
                      </a:moveTo>
                      <a:cubicBezTo>
                        <a:pt x="3256580" y="853910"/>
                        <a:pt x="3244674" y="868769"/>
                        <a:pt x="3244674" y="883628"/>
                      </a:cubicBezTo>
                      <a:cubicBezTo>
                        <a:pt x="3244674" y="883628"/>
                        <a:pt x="3244674" y="883628"/>
                        <a:pt x="3244674" y="1201611"/>
                      </a:cubicBezTo>
                      <a:cubicBezTo>
                        <a:pt x="3244674" y="1213498"/>
                        <a:pt x="3256580" y="1225385"/>
                        <a:pt x="3271463" y="1225385"/>
                      </a:cubicBezTo>
                      <a:cubicBezTo>
                        <a:pt x="3271463" y="1225385"/>
                        <a:pt x="3271463" y="1225385"/>
                        <a:pt x="3408385" y="1225385"/>
                      </a:cubicBezTo>
                      <a:cubicBezTo>
                        <a:pt x="3420291" y="1225385"/>
                        <a:pt x="3435174" y="1213498"/>
                        <a:pt x="3435174" y="1201611"/>
                      </a:cubicBezTo>
                      <a:cubicBezTo>
                        <a:pt x="3435174" y="1201611"/>
                        <a:pt x="3435174" y="1201611"/>
                        <a:pt x="3435174" y="883628"/>
                      </a:cubicBezTo>
                      <a:cubicBezTo>
                        <a:pt x="3435174" y="868769"/>
                        <a:pt x="3420291" y="853910"/>
                        <a:pt x="3408385" y="853910"/>
                      </a:cubicBezTo>
                      <a:cubicBezTo>
                        <a:pt x="3408385" y="853910"/>
                        <a:pt x="3408385" y="853910"/>
                        <a:pt x="3271463" y="853910"/>
                      </a:cubicBezTo>
                      <a:close/>
                      <a:moveTo>
                        <a:pt x="3503238" y="707860"/>
                      </a:moveTo>
                      <a:cubicBezTo>
                        <a:pt x="3488355" y="707860"/>
                        <a:pt x="3476449" y="719757"/>
                        <a:pt x="3476449" y="734629"/>
                      </a:cubicBezTo>
                      <a:cubicBezTo>
                        <a:pt x="3476449" y="734629"/>
                        <a:pt x="3476449" y="734629"/>
                        <a:pt x="3476449" y="1201591"/>
                      </a:cubicBezTo>
                      <a:cubicBezTo>
                        <a:pt x="3476449" y="1213488"/>
                        <a:pt x="3488355" y="1225385"/>
                        <a:pt x="3503238" y="1225385"/>
                      </a:cubicBezTo>
                      <a:cubicBezTo>
                        <a:pt x="3503238" y="1225385"/>
                        <a:pt x="3503238" y="1225385"/>
                        <a:pt x="3643137" y="1225385"/>
                      </a:cubicBezTo>
                      <a:cubicBezTo>
                        <a:pt x="3658020" y="1225385"/>
                        <a:pt x="3666949" y="1213488"/>
                        <a:pt x="3666949" y="1201591"/>
                      </a:cubicBezTo>
                      <a:cubicBezTo>
                        <a:pt x="3666949" y="1201591"/>
                        <a:pt x="3666949" y="1201591"/>
                        <a:pt x="3666949" y="734629"/>
                      </a:cubicBezTo>
                      <a:cubicBezTo>
                        <a:pt x="3666949" y="719757"/>
                        <a:pt x="3658020" y="707860"/>
                        <a:pt x="3643137" y="707860"/>
                      </a:cubicBezTo>
                      <a:cubicBezTo>
                        <a:pt x="3643137" y="707860"/>
                        <a:pt x="3643137" y="707860"/>
                        <a:pt x="3503238" y="707860"/>
                      </a:cubicBezTo>
                      <a:close/>
                      <a:moveTo>
                        <a:pt x="3735212" y="545935"/>
                      </a:moveTo>
                      <a:cubicBezTo>
                        <a:pt x="3720329" y="545935"/>
                        <a:pt x="3711399" y="557855"/>
                        <a:pt x="3711399" y="572755"/>
                      </a:cubicBezTo>
                      <a:cubicBezTo>
                        <a:pt x="3711399" y="572755"/>
                        <a:pt x="3711399" y="572755"/>
                        <a:pt x="3711399" y="1201545"/>
                      </a:cubicBezTo>
                      <a:cubicBezTo>
                        <a:pt x="3711399" y="1213465"/>
                        <a:pt x="3720329" y="1225385"/>
                        <a:pt x="3735212" y="1225385"/>
                      </a:cubicBezTo>
                      <a:cubicBezTo>
                        <a:pt x="3735212" y="1225385"/>
                        <a:pt x="3735212" y="1225385"/>
                        <a:pt x="3875110" y="1225385"/>
                      </a:cubicBezTo>
                      <a:cubicBezTo>
                        <a:pt x="3889993" y="1225385"/>
                        <a:pt x="3901899" y="1213465"/>
                        <a:pt x="3901899" y="1201545"/>
                      </a:cubicBezTo>
                      <a:cubicBezTo>
                        <a:pt x="3901899" y="1201545"/>
                        <a:pt x="3901899" y="1201545"/>
                        <a:pt x="3901899" y="572755"/>
                      </a:cubicBezTo>
                      <a:cubicBezTo>
                        <a:pt x="3901899" y="557855"/>
                        <a:pt x="3889993" y="545935"/>
                        <a:pt x="3875110" y="545935"/>
                      </a:cubicBezTo>
                      <a:cubicBezTo>
                        <a:pt x="3875110" y="545935"/>
                        <a:pt x="3875110" y="545935"/>
                        <a:pt x="3735212" y="545935"/>
                      </a:cubicBezTo>
                      <a:close/>
                      <a:moveTo>
                        <a:pt x="3970162" y="334798"/>
                      </a:moveTo>
                      <a:cubicBezTo>
                        <a:pt x="3958255" y="334798"/>
                        <a:pt x="3946349" y="346712"/>
                        <a:pt x="3946349" y="364584"/>
                      </a:cubicBezTo>
                      <a:cubicBezTo>
                        <a:pt x="3946349" y="364584"/>
                        <a:pt x="3946349" y="364584"/>
                        <a:pt x="3946349" y="1201558"/>
                      </a:cubicBezTo>
                      <a:cubicBezTo>
                        <a:pt x="3946349" y="1213472"/>
                        <a:pt x="3958255" y="1225386"/>
                        <a:pt x="3970162" y="1225386"/>
                      </a:cubicBezTo>
                      <a:cubicBezTo>
                        <a:pt x="3970162" y="1225386"/>
                        <a:pt x="3970162" y="1225386"/>
                        <a:pt x="4107084" y="1225386"/>
                      </a:cubicBezTo>
                      <a:cubicBezTo>
                        <a:pt x="4121966" y="1225386"/>
                        <a:pt x="4136849" y="1213472"/>
                        <a:pt x="4136849" y="1201558"/>
                      </a:cubicBezTo>
                      <a:cubicBezTo>
                        <a:pt x="4136849" y="1201558"/>
                        <a:pt x="4136849" y="1201558"/>
                        <a:pt x="4136849" y="364584"/>
                      </a:cubicBezTo>
                      <a:cubicBezTo>
                        <a:pt x="4136849" y="346712"/>
                        <a:pt x="4121966" y="334798"/>
                        <a:pt x="4107084" y="334798"/>
                      </a:cubicBezTo>
                      <a:cubicBezTo>
                        <a:pt x="4107084" y="334798"/>
                        <a:pt x="4107084" y="334798"/>
                        <a:pt x="3970162" y="334798"/>
                      </a:cubicBezTo>
                      <a:close/>
                      <a:moveTo>
                        <a:pt x="3723359" y="0"/>
                      </a:moveTo>
                      <a:cubicBezTo>
                        <a:pt x="3935334" y="0"/>
                        <a:pt x="4147310" y="81126"/>
                        <a:pt x="4309452" y="243379"/>
                      </a:cubicBezTo>
                      <a:cubicBezTo>
                        <a:pt x="4633737" y="564908"/>
                        <a:pt x="4633737" y="1088881"/>
                        <a:pt x="4309452" y="1410410"/>
                      </a:cubicBezTo>
                      <a:cubicBezTo>
                        <a:pt x="4003018" y="1720030"/>
                        <a:pt x="3512127" y="1731939"/>
                        <a:pt x="3184867" y="1455067"/>
                      </a:cubicBezTo>
                      <a:cubicBezTo>
                        <a:pt x="3184867" y="1455067"/>
                        <a:pt x="3184867" y="1455067"/>
                        <a:pt x="2613649" y="2023696"/>
                      </a:cubicBezTo>
                      <a:cubicBezTo>
                        <a:pt x="2601749" y="2038582"/>
                        <a:pt x="2586874" y="2044536"/>
                        <a:pt x="2569023" y="2044536"/>
                      </a:cubicBezTo>
                      <a:cubicBezTo>
                        <a:pt x="2554148" y="2044536"/>
                        <a:pt x="2536297" y="2038582"/>
                        <a:pt x="2527372" y="2023696"/>
                      </a:cubicBezTo>
                      <a:cubicBezTo>
                        <a:pt x="2461920" y="1958200"/>
                        <a:pt x="2375642" y="1925451"/>
                        <a:pt x="2286389" y="1925451"/>
                      </a:cubicBezTo>
                      <a:cubicBezTo>
                        <a:pt x="2247713" y="1925451"/>
                        <a:pt x="2223912" y="1898657"/>
                        <a:pt x="2223912" y="1862932"/>
                      </a:cubicBezTo>
                      <a:cubicBezTo>
                        <a:pt x="2223912" y="1830184"/>
                        <a:pt x="2247713" y="1803390"/>
                        <a:pt x="2286389" y="1803390"/>
                      </a:cubicBezTo>
                      <a:cubicBezTo>
                        <a:pt x="2387542" y="1803390"/>
                        <a:pt x="2488695" y="1836138"/>
                        <a:pt x="2566048" y="1898657"/>
                      </a:cubicBezTo>
                      <a:cubicBezTo>
                        <a:pt x="2566048" y="1898657"/>
                        <a:pt x="2566048" y="1898657"/>
                        <a:pt x="3098589" y="1368730"/>
                      </a:cubicBezTo>
                      <a:cubicBezTo>
                        <a:pt x="2815956" y="1044224"/>
                        <a:pt x="2830831" y="552999"/>
                        <a:pt x="3137266" y="243379"/>
                      </a:cubicBezTo>
                      <a:cubicBezTo>
                        <a:pt x="3299408" y="81126"/>
                        <a:pt x="3511384" y="0"/>
                        <a:pt x="372335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44" name="Freeform 40">
                  <a:extLst>
                    <a:ext uri="{FF2B5EF4-FFF2-40B4-BE49-F238E27FC236}">
                      <a16:creationId xmlns:a16="http://schemas.microsoft.com/office/drawing/2014/main" id="{BF684E6B-A08E-482F-BF74-CFAE827BABC2}"/>
                    </a:ext>
                  </a:extLst>
                </p:cNvPr>
                <p:cNvSpPr>
                  <a:spLocks/>
                </p:cNvSpPr>
                <p:nvPr/>
              </p:nvSpPr>
              <p:spPr bwMode="auto">
                <a:xfrm>
                  <a:off x="3813351" y="1143176"/>
                  <a:ext cx="4565299" cy="4565299"/>
                </a:xfrm>
                <a:custGeom>
                  <a:avLst/>
                  <a:gdLst>
                    <a:gd name="connsiteX0" fmla="*/ 3737879 w 4565299"/>
                    <a:gd name="connsiteY0" fmla="*/ 3535892 h 4565299"/>
                    <a:gd name="connsiteX1" fmla="*/ 3914340 w 4565299"/>
                    <a:gd name="connsiteY1" fmla="*/ 3658161 h 4565299"/>
                    <a:gd name="connsiteX2" fmla="*/ 3815980 w 4565299"/>
                    <a:gd name="connsiteY2" fmla="*/ 3916332 h 4565299"/>
                    <a:gd name="connsiteX3" fmla="*/ 3562628 w 4565299"/>
                    <a:gd name="connsiteY3" fmla="*/ 3815438 h 4565299"/>
                    <a:gd name="connsiteX4" fmla="*/ 3663969 w 4565299"/>
                    <a:gd name="connsiteY4" fmla="*/ 3551332 h 4565299"/>
                    <a:gd name="connsiteX5" fmla="*/ 3737879 w 4565299"/>
                    <a:gd name="connsiteY5" fmla="*/ 3535892 h 4565299"/>
                    <a:gd name="connsiteX6" fmla="*/ 3592406 w 4565299"/>
                    <a:gd name="connsiteY6" fmla="*/ 3279599 h 4565299"/>
                    <a:gd name="connsiteX7" fmla="*/ 3497137 w 4565299"/>
                    <a:gd name="connsiteY7" fmla="*/ 3321289 h 4565299"/>
                    <a:gd name="connsiteX8" fmla="*/ 3416753 w 4565299"/>
                    <a:gd name="connsiteY8" fmla="*/ 3383824 h 4565299"/>
                    <a:gd name="connsiteX9" fmla="*/ 3425684 w 4565299"/>
                    <a:gd name="connsiteY9" fmla="*/ 3464227 h 4565299"/>
                    <a:gd name="connsiteX10" fmla="*/ 3345300 w 4565299"/>
                    <a:gd name="connsiteY10" fmla="*/ 3598230 h 4565299"/>
                    <a:gd name="connsiteX11" fmla="*/ 3273848 w 4565299"/>
                    <a:gd name="connsiteY11" fmla="*/ 3628009 h 4565299"/>
                    <a:gd name="connsiteX12" fmla="*/ 3273848 w 4565299"/>
                    <a:gd name="connsiteY12" fmla="*/ 3833481 h 4565299"/>
                    <a:gd name="connsiteX13" fmla="*/ 3342323 w 4565299"/>
                    <a:gd name="connsiteY13" fmla="*/ 3869215 h 4565299"/>
                    <a:gd name="connsiteX14" fmla="*/ 3381027 w 4565299"/>
                    <a:gd name="connsiteY14" fmla="*/ 3943662 h 4565299"/>
                    <a:gd name="connsiteX15" fmla="*/ 3425684 w 4565299"/>
                    <a:gd name="connsiteY15" fmla="*/ 4012153 h 4565299"/>
                    <a:gd name="connsiteX16" fmla="*/ 3416753 w 4565299"/>
                    <a:gd name="connsiteY16" fmla="*/ 4089577 h 4565299"/>
                    <a:gd name="connsiteX17" fmla="*/ 3589429 w 4565299"/>
                    <a:gd name="connsiteY17" fmla="*/ 4190824 h 4565299"/>
                    <a:gd name="connsiteX18" fmla="*/ 3651950 w 4565299"/>
                    <a:gd name="connsiteY18" fmla="*/ 4143178 h 4565299"/>
                    <a:gd name="connsiteX19" fmla="*/ 3821649 w 4565299"/>
                    <a:gd name="connsiteY19" fmla="*/ 4146156 h 4565299"/>
                    <a:gd name="connsiteX20" fmla="*/ 3887147 w 4565299"/>
                    <a:gd name="connsiteY20" fmla="*/ 4190824 h 4565299"/>
                    <a:gd name="connsiteX21" fmla="*/ 3976463 w 4565299"/>
                    <a:gd name="connsiteY21" fmla="*/ 4152112 h 4565299"/>
                    <a:gd name="connsiteX22" fmla="*/ 4053869 w 4565299"/>
                    <a:gd name="connsiteY22" fmla="*/ 4092555 h 4565299"/>
                    <a:gd name="connsiteX23" fmla="*/ 4044938 w 4565299"/>
                    <a:gd name="connsiteY23" fmla="*/ 4015131 h 4565299"/>
                    <a:gd name="connsiteX24" fmla="*/ 4131276 w 4565299"/>
                    <a:gd name="connsiteY24" fmla="*/ 3863260 h 4565299"/>
                    <a:gd name="connsiteX25" fmla="*/ 4199751 w 4565299"/>
                    <a:gd name="connsiteY25" fmla="*/ 3830503 h 4565299"/>
                    <a:gd name="connsiteX26" fmla="*/ 4196774 w 4565299"/>
                    <a:gd name="connsiteY26" fmla="*/ 3630987 h 4565299"/>
                    <a:gd name="connsiteX27" fmla="*/ 4128299 w 4565299"/>
                    <a:gd name="connsiteY27" fmla="*/ 3598230 h 4565299"/>
                    <a:gd name="connsiteX28" fmla="*/ 4092573 w 4565299"/>
                    <a:gd name="connsiteY28" fmla="*/ 3526762 h 4565299"/>
                    <a:gd name="connsiteX29" fmla="*/ 4041961 w 4565299"/>
                    <a:gd name="connsiteY29" fmla="*/ 3455293 h 4565299"/>
                    <a:gd name="connsiteX30" fmla="*/ 4047915 w 4565299"/>
                    <a:gd name="connsiteY30" fmla="*/ 3377869 h 4565299"/>
                    <a:gd name="connsiteX31" fmla="*/ 3875239 w 4565299"/>
                    <a:gd name="connsiteY31" fmla="*/ 3279599 h 4565299"/>
                    <a:gd name="connsiteX32" fmla="*/ 3809741 w 4565299"/>
                    <a:gd name="connsiteY32" fmla="*/ 3327245 h 4565299"/>
                    <a:gd name="connsiteX33" fmla="*/ 3654927 w 4565299"/>
                    <a:gd name="connsiteY33" fmla="*/ 3327245 h 4565299"/>
                    <a:gd name="connsiteX34" fmla="*/ 3592406 w 4565299"/>
                    <a:gd name="connsiteY34" fmla="*/ 3279599 h 4565299"/>
                    <a:gd name="connsiteX35" fmla="*/ 2693900 w 4565299"/>
                    <a:gd name="connsiteY35" fmla="*/ 2223912 h 4565299"/>
                    <a:gd name="connsiteX36" fmla="*/ 2756436 w 4565299"/>
                    <a:gd name="connsiteY36" fmla="*/ 2286354 h 4565299"/>
                    <a:gd name="connsiteX37" fmla="*/ 2655187 w 4565299"/>
                    <a:gd name="connsiteY37" fmla="*/ 2565855 h 4565299"/>
                    <a:gd name="connsiteX38" fmla="*/ 3172893 w 4565299"/>
                    <a:gd name="connsiteY38" fmla="*/ 3076033 h 4565299"/>
                    <a:gd name="connsiteX39" fmla="*/ 3201254 w 4565299"/>
                    <a:gd name="connsiteY39" fmla="*/ 3103981 h 4565299"/>
                    <a:gd name="connsiteX40" fmla="*/ 3214284 w 4565299"/>
                    <a:gd name="connsiteY40" fmla="*/ 3092210 h 4565299"/>
                    <a:gd name="connsiteX41" fmla="*/ 3735683 w 4565299"/>
                    <a:gd name="connsiteY41" fmla="*/ 2907556 h 4565299"/>
                    <a:gd name="connsiteX42" fmla="*/ 4321886 w 4565299"/>
                    <a:gd name="connsiteY42" fmla="*/ 3148736 h 4565299"/>
                    <a:gd name="connsiteX43" fmla="*/ 4321886 w 4565299"/>
                    <a:gd name="connsiteY43" fmla="*/ 4321886 h 4565299"/>
                    <a:gd name="connsiteX44" fmla="*/ 3151714 w 4565299"/>
                    <a:gd name="connsiteY44" fmla="*/ 4321886 h 4565299"/>
                    <a:gd name="connsiteX45" fmla="*/ 3094664 w 4565299"/>
                    <a:gd name="connsiteY45" fmla="*/ 3211830 h 4565299"/>
                    <a:gd name="connsiteX46" fmla="*/ 3114853 w 4565299"/>
                    <a:gd name="connsiteY46" fmla="*/ 3189503 h 4565299"/>
                    <a:gd name="connsiteX47" fmla="*/ 3014894 w 4565299"/>
                    <a:gd name="connsiteY47" fmla="*/ 3090517 h 4565299"/>
                    <a:gd name="connsiteX48" fmla="*/ 2530114 w 4565299"/>
                    <a:gd name="connsiteY48" fmla="*/ 2610456 h 4565299"/>
                    <a:gd name="connsiteX49" fmla="*/ 2530114 w 4565299"/>
                    <a:gd name="connsiteY49" fmla="*/ 2524227 h 4565299"/>
                    <a:gd name="connsiteX50" fmla="*/ 2631363 w 4565299"/>
                    <a:gd name="connsiteY50" fmla="*/ 2286354 h 4565299"/>
                    <a:gd name="connsiteX51" fmla="*/ 2693900 w 4565299"/>
                    <a:gd name="connsiteY51" fmla="*/ 2223912 h 4565299"/>
                    <a:gd name="connsiteX52" fmla="*/ 553903 w 4565299"/>
                    <a:gd name="connsiteY52" fmla="*/ 374474 h 4565299"/>
                    <a:gd name="connsiteX53" fmla="*/ 524131 w 4565299"/>
                    <a:gd name="connsiteY53" fmla="*/ 389357 h 4565299"/>
                    <a:gd name="connsiteX54" fmla="*/ 390157 w 4565299"/>
                    <a:gd name="connsiteY54" fmla="*/ 517349 h 4565299"/>
                    <a:gd name="connsiteX55" fmla="*/ 375271 w 4565299"/>
                    <a:gd name="connsiteY55" fmla="*/ 544138 h 4565299"/>
                    <a:gd name="connsiteX56" fmla="*/ 366339 w 4565299"/>
                    <a:gd name="connsiteY56" fmla="*/ 570927 h 4565299"/>
                    <a:gd name="connsiteX57" fmla="*/ 366339 w 4565299"/>
                    <a:gd name="connsiteY57" fmla="*/ 591763 h 4565299"/>
                    <a:gd name="connsiteX58" fmla="*/ 369317 w 4565299"/>
                    <a:gd name="connsiteY58" fmla="*/ 639388 h 4565299"/>
                    <a:gd name="connsiteX59" fmla="*/ 387180 w 4565299"/>
                    <a:gd name="connsiteY59" fmla="*/ 710826 h 4565299"/>
                    <a:gd name="connsiteX60" fmla="*/ 428861 w 4565299"/>
                    <a:gd name="connsiteY60" fmla="*/ 806076 h 4565299"/>
                    <a:gd name="connsiteX61" fmla="*/ 503291 w 4565299"/>
                    <a:gd name="connsiteY61" fmla="*/ 922162 h 4565299"/>
                    <a:gd name="connsiteX62" fmla="*/ 616424 w 4565299"/>
                    <a:gd name="connsiteY62" fmla="*/ 1053131 h 4565299"/>
                    <a:gd name="connsiteX63" fmla="*/ 780170 w 4565299"/>
                    <a:gd name="connsiteY63" fmla="*/ 1190053 h 4565299"/>
                    <a:gd name="connsiteX64" fmla="*/ 917121 w 4565299"/>
                    <a:gd name="connsiteY64" fmla="*/ 1267443 h 4565299"/>
                    <a:gd name="connsiteX65" fmla="*/ 1018346 w 4565299"/>
                    <a:gd name="connsiteY65" fmla="*/ 1297209 h 4565299"/>
                    <a:gd name="connsiteX66" fmla="*/ 1080867 w 4565299"/>
                    <a:gd name="connsiteY66" fmla="*/ 1303162 h 4565299"/>
                    <a:gd name="connsiteX67" fmla="*/ 1092776 w 4565299"/>
                    <a:gd name="connsiteY67" fmla="*/ 1303162 h 4565299"/>
                    <a:gd name="connsiteX68" fmla="*/ 1098730 w 4565299"/>
                    <a:gd name="connsiteY68" fmla="*/ 1303162 h 4565299"/>
                    <a:gd name="connsiteX69" fmla="*/ 1125525 w 4565299"/>
                    <a:gd name="connsiteY69" fmla="*/ 1294232 h 4565299"/>
                    <a:gd name="connsiteX70" fmla="*/ 1149343 w 4565299"/>
                    <a:gd name="connsiteY70" fmla="*/ 1279350 h 4565299"/>
                    <a:gd name="connsiteX71" fmla="*/ 1280339 w 4565299"/>
                    <a:gd name="connsiteY71" fmla="*/ 1145404 h 4565299"/>
                    <a:gd name="connsiteX72" fmla="*/ 1292248 w 4565299"/>
                    <a:gd name="connsiteY72" fmla="*/ 1106709 h 4565299"/>
                    <a:gd name="connsiteX73" fmla="*/ 1271408 w 4565299"/>
                    <a:gd name="connsiteY73" fmla="*/ 1076943 h 4565299"/>
                    <a:gd name="connsiteX74" fmla="*/ 1080867 w 4565299"/>
                    <a:gd name="connsiteY74" fmla="*/ 963834 h 4565299"/>
                    <a:gd name="connsiteX75" fmla="*/ 1077890 w 4565299"/>
                    <a:gd name="connsiteY75" fmla="*/ 963834 h 4565299"/>
                    <a:gd name="connsiteX76" fmla="*/ 1054072 w 4565299"/>
                    <a:gd name="connsiteY76" fmla="*/ 957881 h 4565299"/>
                    <a:gd name="connsiteX77" fmla="*/ 1009414 w 4565299"/>
                    <a:gd name="connsiteY77" fmla="*/ 972764 h 4565299"/>
                    <a:gd name="connsiteX78" fmla="*/ 955825 w 4565299"/>
                    <a:gd name="connsiteY78" fmla="*/ 1032295 h 4565299"/>
                    <a:gd name="connsiteX79" fmla="*/ 949870 w 4565299"/>
                    <a:gd name="connsiteY79" fmla="*/ 1035271 h 4565299"/>
                    <a:gd name="connsiteX80" fmla="*/ 943916 w 4565299"/>
                    <a:gd name="connsiteY80" fmla="*/ 1035271 h 4565299"/>
                    <a:gd name="connsiteX81" fmla="*/ 929030 w 4565299"/>
                    <a:gd name="connsiteY81" fmla="*/ 1035271 h 4565299"/>
                    <a:gd name="connsiteX82" fmla="*/ 896281 w 4565299"/>
                    <a:gd name="connsiteY82" fmla="*/ 1017412 h 4565299"/>
                    <a:gd name="connsiteX83" fmla="*/ 836737 w 4565299"/>
                    <a:gd name="connsiteY83" fmla="*/ 981693 h 4565299"/>
                    <a:gd name="connsiteX84" fmla="*/ 759330 w 4565299"/>
                    <a:gd name="connsiteY84" fmla="*/ 910256 h 4565299"/>
                    <a:gd name="connsiteX85" fmla="*/ 687877 w 4565299"/>
                    <a:gd name="connsiteY85" fmla="*/ 832865 h 4565299"/>
                    <a:gd name="connsiteX86" fmla="*/ 652150 w 4565299"/>
                    <a:gd name="connsiteY86" fmla="*/ 776310 h 4565299"/>
                    <a:gd name="connsiteX87" fmla="*/ 634287 w 4565299"/>
                    <a:gd name="connsiteY87" fmla="*/ 728685 h 4565299"/>
                    <a:gd name="connsiteX88" fmla="*/ 634287 w 4565299"/>
                    <a:gd name="connsiteY88" fmla="*/ 719756 h 4565299"/>
                    <a:gd name="connsiteX89" fmla="*/ 637264 w 4565299"/>
                    <a:gd name="connsiteY89" fmla="*/ 713802 h 4565299"/>
                    <a:gd name="connsiteX90" fmla="*/ 687877 w 4565299"/>
                    <a:gd name="connsiteY90" fmla="*/ 666177 h 4565299"/>
                    <a:gd name="connsiteX91" fmla="*/ 705740 w 4565299"/>
                    <a:gd name="connsiteY91" fmla="*/ 633435 h 4565299"/>
                    <a:gd name="connsiteX92" fmla="*/ 699786 w 4565299"/>
                    <a:gd name="connsiteY92" fmla="*/ 597716 h 4565299"/>
                    <a:gd name="connsiteX93" fmla="*/ 592606 w 4565299"/>
                    <a:gd name="connsiteY93" fmla="*/ 398287 h 4565299"/>
                    <a:gd name="connsiteX94" fmla="*/ 574743 w 4565299"/>
                    <a:gd name="connsiteY94" fmla="*/ 380427 h 4565299"/>
                    <a:gd name="connsiteX95" fmla="*/ 553903 w 4565299"/>
                    <a:gd name="connsiteY95" fmla="*/ 374474 h 4565299"/>
                    <a:gd name="connsiteX96" fmla="*/ 829616 w 4565299"/>
                    <a:gd name="connsiteY96" fmla="*/ 0 h 4565299"/>
                    <a:gd name="connsiteX97" fmla="*/ 1413586 w 4565299"/>
                    <a:gd name="connsiteY97" fmla="*/ 243414 h 4565299"/>
                    <a:gd name="connsiteX98" fmla="*/ 1470636 w 4565299"/>
                    <a:gd name="connsiteY98" fmla="*/ 1352946 h 4565299"/>
                    <a:gd name="connsiteX99" fmla="*/ 1457160 w 4565299"/>
                    <a:gd name="connsiteY99" fmla="*/ 1367973 h 4565299"/>
                    <a:gd name="connsiteX100" fmla="*/ 1560979 w 4565299"/>
                    <a:gd name="connsiteY100" fmla="*/ 1471865 h 4565299"/>
                    <a:gd name="connsiteX101" fmla="*/ 2041548 w 4565299"/>
                    <a:gd name="connsiteY101" fmla="*/ 1952772 h 4565299"/>
                    <a:gd name="connsiteX102" fmla="*/ 2041548 w 4565299"/>
                    <a:gd name="connsiteY102" fmla="*/ 2039153 h 4565299"/>
                    <a:gd name="connsiteX103" fmla="*/ 1943322 w 4565299"/>
                    <a:gd name="connsiteY103" fmla="*/ 2280423 h 4565299"/>
                    <a:gd name="connsiteX104" fmla="*/ 1883790 w 4565299"/>
                    <a:gd name="connsiteY104" fmla="*/ 2342975 h 4565299"/>
                    <a:gd name="connsiteX105" fmla="*/ 1821283 w 4565299"/>
                    <a:gd name="connsiteY105" fmla="*/ 2280423 h 4565299"/>
                    <a:gd name="connsiteX106" fmla="*/ 1916533 w 4565299"/>
                    <a:gd name="connsiteY106" fmla="*/ 2000430 h 4565299"/>
                    <a:gd name="connsiteX107" fmla="*/ 1403564 w 4565299"/>
                    <a:gd name="connsiteY107" fmla="*/ 1487101 h 4565299"/>
                    <a:gd name="connsiteX108" fmla="*/ 1369240 w 4565299"/>
                    <a:gd name="connsiteY108" fmla="*/ 1452753 h 4565299"/>
                    <a:gd name="connsiteX109" fmla="*/ 1284290 w 4565299"/>
                    <a:gd name="connsiteY109" fmla="*/ 1522080 h 4565299"/>
                    <a:gd name="connsiteX110" fmla="*/ 243414 w 4565299"/>
                    <a:gd name="connsiteY110" fmla="*/ 1416563 h 4565299"/>
                    <a:gd name="connsiteX111" fmla="*/ 243414 w 4565299"/>
                    <a:gd name="connsiteY111" fmla="*/ 243414 h 4565299"/>
                    <a:gd name="connsiteX112" fmla="*/ 829616 w 4565299"/>
                    <a:gd name="connsiteY112" fmla="*/ 0 h 456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565299" h="4565299">
                      <a:moveTo>
                        <a:pt x="3737879" y="3535892"/>
                      </a:moveTo>
                      <a:cubicBezTo>
                        <a:pt x="3812627" y="3535753"/>
                        <a:pt x="3885279" y="3580265"/>
                        <a:pt x="3914340" y="3658161"/>
                      </a:cubicBezTo>
                      <a:cubicBezTo>
                        <a:pt x="3959049" y="3759056"/>
                        <a:pt x="3914340" y="3874788"/>
                        <a:pt x="3815980" y="3916332"/>
                      </a:cubicBezTo>
                      <a:cubicBezTo>
                        <a:pt x="3717620" y="3963812"/>
                        <a:pt x="3604356" y="3913365"/>
                        <a:pt x="3562628" y="3815438"/>
                      </a:cubicBezTo>
                      <a:cubicBezTo>
                        <a:pt x="3520899" y="3711576"/>
                        <a:pt x="3565608" y="3595844"/>
                        <a:pt x="3663969" y="3551332"/>
                      </a:cubicBezTo>
                      <a:cubicBezTo>
                        <a:pt x="3687814" y="3540946"/>
                        <a:pt x="3712963" y="3535938"/>
                        <a:pt x="3737879" y="3535892"/>
                      </a:cubicBezTo>
                      <a:close/>
                      <a:moveTo>
                        <a:pt x="3592406" y="3279599"/>
                      </a:moveTo>
                      <a:cubicBezTo>
                        <a:pt x="3559657" y="3288533"/>
                        <a:pt x="3526908" y="3303422"/>
                        <a:pt x="3497137" y="3321289"/>
                      </a:cubicBezTo>
                      <a:cubicBezTo>
                        <a:pt x="3467365" y="3339156"/>
                        <a:pt x="3440570" y="3360001"/>
                        <a:pt x="3416753" y="3383824"/>
                      </a:cubicBezTo>
                      <a:cubicBezTo>
                        <a:pt x="3425684" y="3464227"/>
                        <a:pt x="3425684" y="3464227"/>
                        <a:pt x="3425684" y="3464227"/>
                      </a:cubicBezTo>
                      <a:cubicBezTo>
                        <a:pt x="3389958" y="3502939"/>
                        <a:pt x="3363164" y="3547607"/>
                        <a:pt x="3345300" y="3598230"/>
                      </a:cubicBezTo>
                      <a:cubicBezTo>
                        <a:pt x="3273848" y="3628009"/>
                        <a:pt x="3273848" y="3628009"/>
                        <a:pt x="3273848" y="3628009"/>
                      </a:cubicBezTo>
                      <a:cubicBezTo>
                        <a:pt x="3258962" y="3696500"/>
                        <a:pt x="3258962" y="3767968"/>
                        <a:pt x="3273848" y="3833481"/>
                      </a:cubicBezTo>
                      <a:cubicBezTo>
                        <a:pt x="3342323" y="3869215"/>
                        <a:pt x="3342323" y="3869215"/>
                        <a:pt x="3342323" y="3869215"/>
                      </a:cubicBezTo>
                      <a:cubicBezTo>
                        <a:pt x="3354232" y="3893038"/>
                        <a:pt x="3366141" y="3922817"/>
                        <a:pt x="3381027" y="3943662"/>
                      </a:cubicBezTo>
                      <a:cubicBezTo>
                        <a:pt x="3392935" y="3970463"/>
                        <a:pt x="3410798" y="3991308"/>
                        <a:pt x="3425684" y="4012153"/>
                      </a:cubicBezTo>
                      <a:cubicBezTo>
                        <a:pt x="3416753" y="4089577"/>
                        <a:pt x="3416753" y="4089577"/>
                        <a:pt x="3416753" y="4089577"/>
                      </a:cubicBezTo>
                      <a:cubicBezTo>
                        <a:pt x="3467365" y="4137223"/>
                        <a:pt x="3523931" y="4169979"/>
                        <a:pt x="3589429" y="4190824"/>
                      </a:cubicBezTo>
                      <a:cubicBezTo>
                        <a:pt x="3651950" y="4143178"/>
                        <a:pt x="3651950" y="4143178"/>
                        <a:pt x="3651950" y="4143178"/>
                      </a:cubicBezTo>
                      <a:cubicBezTo>
                        <a:pt x="3705539" y="4158068"/>
                        <a:pt x="3762106" y="4158068"/>
                        <a:pt x="3821649" y="4146156"/>
                      </a:cubicBezTo>
                      <a:cubicBezTo>
                        <a:pt x="3887147" y="4190824"/>
                        <a:pt x="3887147" y="4190824"/>
                        <a:pt x="3887147" y="4190824"/>
                      </a:cubicBezTo>
                      <a:cubicBezTo>
                        <a:pt x="3913942" y="4181891"/>
                        <a:pt x="3943714" y="4169979"/>
                        <a:pt x="3976463" y="4152112"/>
                      </a:cubicBezTo>
                      <a:cubicBezTo>
                        <a:pt x="4003257" y="4134245"/>
                        <a:pt x="4030052" y="4116378"/>
                        <a:pt x="4053869" y="4092555"/>
                      </a:cubicBezTo>
                      <a:cubicBezTo>
                        <a:pt x="4044938" y="4015131"/>
                        <a:pt x="4044938" y="4015131"/>
                        <a:pt x="4044938" y="4015131"/>
                      </a:cubicBezTo>
                      <a:cubicBezTo>
                        <a:pt x="4083641" y="3970463"/>
                        <a:pt x="4113413" y="3919839"/>
                        <a:pt x="4131276" y="3863260"/>
                      </a:cubicBezTo>
                      <a:cubicBezTo>
                        <a:pt x="4199751" y="3830503"/>
                        <a:pt x="4199751" y="3830503"/>
                        <a:pt x="4199751" y="3830503"/>
                      </a:cubicBezTo>
                      <a:cubicBezTo>
                        <a:pt x="4214637" y="3767968"/>
                        <a:pt x="4214637" y="3696500"/>
                        <a:pt x="4196774" y="3630987"/>
                      </a:cubicBezTo>
                      <a:cubicBezTo>
                        <a:pt x="4128299" y="3598230"/>
                        <a:pt x="4128299" y="3598230"/>
                        <a:pt x="4128299" y="3598230"/>
                      </a:cubicBezTo>
                      <a:cubicBezTo>
                        <a:pt x="4116390" y="3574407"/>
                        <a:pt x="4104482" y="3550584"/>
                        <a:pt x="4092573" y="3526762"/>
                      </a:cubicBezTo>
                      <a:cubicBezTo>
                        <a:pt x="4080664" y="3499961"/>
                        <a:pt x="4059824" y="3479116"/>
                        <a:pt x="4041961" y="3455293"/>
                      </a:cubicBezTo>
                      <a:cubicBezTo>
                        <a:pt x="4047915" y="3377869"/>
                        <a:pt x="4047915" y="3377869"/>
                        <a:pt x="4047915" y="3377869"/>
                      </a:cubicBezTo>
                      <a:cubicBezTo>
                        <a:pt x="3997303" y="3333201"/>
                        <a:pt x="3937759" y="3297466"/>
                        <a:pt x="3875239" y="3279599"/>
                      </a:cubicBezTo>
                      <a:cubicBezTo>
                        <a:pt x="3809741" y="3327245"/>
                        <a:pt x="3809741" y="3327245"/>
                        <a:pt x="3809741" y="3327245"/>
                      </a:cubicBezTo>
                      <a:cubicBezTo>
                        <a:pt x="3756151" y="3315334"/>
                        <a:pt x="3705539" y="3318311"/>
                        <a:pt x="3654927" y="3327245"/>
                      </a:cubicBezTo>
                      <a:cubicBezTo>
                        <a:pt x="3592406" y="3279599"/>
                        <a:pt x="3592406" y="3279599"/>
                        <a:pt x="3592406" y="3279599"/>
                      </a:cubicBezTo>
                      <a:close/>
                      <a:moveTo>
                        <a:pt x="2693900" y="2223912"/>
                      </a:moveTo>
                      <a:cubicBezTo>
                        <a:pt x="2726657" y="2223912"/>
                        <a:pt x="2756436" y="2250673"/>
                        <a:pt x="2756436" y="2286354"/>
                      </a:cubicBezTo>
                      <a:cubicBezTo>
                        <a:pt x="2756436" y="2387450"/>
                        <a:pt x="2720701" y="2485572"/>
                        <a:pt x="2655187" y="2565855"/>
                      </a:cubicBezTo>
                      <a:cubicBezTo>
                        <a:pt x="2912033" y="2818966"/>
                        <a:pt x="3072562" y="2977161"/>
                        <a:pt x="3172893" y="3076033"/>
                      </a:cubicBezTo>
                      <a:lnTo>
                        <a:pt x="3201254" y="3103981"/>
                      </a:lnTo>
                      <a:lnTo>
                        <a:pt x="3214284" y="3092210"/>
                      </a:lnTo>
                      <a:cubicBezTo>
                        <a:pt x="3365358" y="2969107"/>
                        <a:pt x="3550378" y="2907556"/>
                        <a:pt x="3735683" y="2907556"/>
                      </a:cubicBezTo>
                      <a:cubicBezTo>
                        <a:pt x="3947461" y="2907556"/>
                        <a:pt x="4159610" y="2987949"/>
                        <a:pt x="4321886" y="3148736"/>
                      </a:cubicBezTo>
                      <a:cubicBezTo>
                        <a:pt x="4646437" y="3473288"/>
                        <a:pt x="4646437" y="3997334"/>
                        <a:pt x="4321886" y="4321886"/>
                      </a:cubicBezTo>
                      <a:cubicBezTo>
                        <a:pt x="3997334" y="4646437"/>
                        <a:pt x="3473288" y="4646437"/>
                        <a:pt x="3151714" y="4321886"/>
                      </a:cubicBezTo>
                      <a:cubicBezTo>
                        <a:pt x="2847447" y="4017619"/>
                        <a:pt x="2828430" y="3538015"/>
                        <a:pt x="3094664" y="3211830"/>
                      </a:cubicBezTo>
                      <a:lnTo>
                        <a:pt x="3114853" y="3189503"/>
                      </a:lnTo>
                      <a:lnTo>
                        <a:pt x="3014894" y="3090517"/>
                      </a:lnTo>
                      <a:cubicBezTo>
                        <a:pt x="2530114" y="2610456"/>
                        <a:pt x="2530114" y="2610456"/>
                        <a:pt x="2530114" y="2610456"/>
                      </a:cubicBezTo>
                      <a:cubicBezTo>
                        <a:pt x="2503312" y="2589642"/>
                        <a:pt x="2503312" y="2550988"/>
                        <a:pt x="2530114" y="2524227"/>
                      </a:cubicBezTo>
                      <a:cubicBezTo>
                        <a:pt x="2595628" y="2461785"/>
                        <a:pt x="2631363" y="2375556"/>
                        <a:pt x="2631363" y="2286354"/>
                      </a:cubicBezTo>
                      <a:cubicBezTo>
                        <a:pt x="2631363" y="2250673"/>
                        <a:pt x="2655187" y="2223912"/>
                        <a:pt x="2693900" y="2223912"/>
                      </a:cubicBezTo>
                      <a:close/>
                      <a:moveTo>
                        <a:pt x="553903" y="374474"/>
                      </a:moveTo>
                      <a:cubicBezTo>
                        <a:pt x="541994" y="374474"/>
                        <a:pt x="530085" y="377451"/>
                        <a:pt x="524131" y="389357"/>
                      </a:cubicBezTo>
                      <a:cubicBezTo>
                        <a:pt x="524131" y="389357"/>
                        <a:pt x="524131" y="389357"/>
                        <a:pt x="390157" y="517349"/>
                      </a:cubicBezTo>
                      <a:cubicBezTo>
                        <a:pt x="384203" y="523302"/>
                        <a:pt x="381225" y="532232"/>
                        <a:pt x="375271" y="544138"/>
                      </a:cubicBezTo>
                      <a:cubicBezTo>
                        <a:pt x="372294" y="550091"/>
                        <a:pt x="366339" y="559021"/>
                        <a:pt x="366339" y="570927"/>
                      </a:cubicBezTo>
                      <a:cubicBezTo>
                        <a:pt x="366339" y="570927"/>
                        <a:pt x="366339" y="576880"/>
                        <a:pt x="366339" y="591763"/>
                      </a:cubicBezTo>
                      <a:cubicBezTo>
                        <a:pt x="363362" y="600693"/>
                        <a:pt x="366339" y="618552"/>
                        <a:pt x="369317" y="639388"/>
                      </a:cubicBezTo>
                      <a:cubicBezTo>
                        <a:pt x="372294" y="657248"/>
                        <a:pt x="378248" y="684037"/>
                        <a:pt x="387180" y="710826"/>
                      </a:cubicBezTo>
                      <a:cubicBezTo>
                        <a:pt x="396111" y="740591"/>
                        <a:pt x="410997" y="773334"/>
                        <a:pt x="428861" y="806076"/>
                      </a:cubicBezTo>
                      <a:cubicBezTo>
                        <a:pt x="446724" y="841795"/>
                        <a:pt x="473519" y="883467"/>
                        <a:pt x="503291" y="922162"/>
                      </a:cubicBezTo>
                      <a:cubicBezTo>
                        <a:pt x="530085" y="963834"/>
                        <a:pt x="571766" y="1008482"/>
                        <a:pt x="616424" y="1053131"/>
                      </a:cubicBezTo>
                      <a:cubicBezTo>
                        <a:pt x="672991" y="1112662"/>
                        <a:pt x="726580" y="1157311"/>
                        <a:pt x="780170" y="1190053"/>
                      </a:cubicBezTo>
                      <a:cubicBezTo>
                        <a:pt x="830782" y="1225771"/>
                        <a:pt x="875440" y="1249584"/>
                        <a:pt x="917121" y="1267443"/>
                      </a:cubicBezTo>
                      <a:cubicBezTo>
                        <a:pt x="958802" y="1282326"/>
                        <a:pt x="991551" y="1294232"/>
                        <a:pt x="1018346" y="1297209"/>
                      </a:cubicBezTo>
                      <a:cubicBezTo>
                        <a:pt x="1048118" y="1303162"/>
                        <a:pt x="1065981" y="1303162"/>
                        <a:pt x="1080867" y="1303162"/>
                      </a:cubicBezTo>
                      <a:cubicBezTo>
                        <a:pt x="1086821" y="1303162"/>
                        <a:pt x="1089799" y="1303162"/>
                        <a:pt x="1092776" y="1303162"/>
                      </a:cubicBezTo>
                      <a:cubicBezTo>
                        <a:pt x="1098730" y="1303162"/>
                        <a:pt x="1098730" y="1303162"/>
                        <a:pt x="1098730" y="1303162"/>
                      </a:cubicBezTo>
                      <a:cubicBezTo>
                        <a:pt x="1107662" y="1303162"/>
                        <a:pt x="1116593" y="1297209"/>
                        <a:pt x="1125525" y="1294232"/>
                      </a:cubicBezTo>
                      <a:cubicBezTo>
                        <a:pt x="1137434" y="1288279"/>
                        <a:pt x="1146365" y="1282326"/>
                        <a:pt x="1149343" y="1279350"/>
                      </a:cubicBezTo>
                      <a:cubicBezTo>
                        <a:pt x="1149343" y="1279350"/>
                        <a:pt x="1149343" y="1279350"/>
                        <a:pt x="1280339" y="1145404"/>
                      </a:cubicBezTo>
                      <a:cubicBezTo>
                        <a:pt x="1292248" y="1133498"/>
                        <a:pt x="1295225" y="1124568"/>
                        <a:pt x="1292248" y="1106709"/>
                      </a:cubicBezTo>
                      <a:cubicBezTo>
                        <a:pt x="1292248" y="1094803"/>
                        <a:pt x="1286294" y="1082896"/>
                        <a:pt x="1271408" y="1076943"/>
                      </a:cubicBezTo>
                      <a:cubicBezTo>
                        <a:pt x="1271408" y="1076943"/>
                        <a:pt x="1271408" y="1076943"/>
                        <a:pt x="1080867" y="963834"/>
                      </a:cubicBezTo>
                      <a:cubicBezTo>
                        <a:pt x="1080867" y="963834"/>
                        <a:pt x="1080867" y="963834"/>
                        <a:pt x="1077890" y="963834"/>
                      </a:cubicBezTo>
                      <a:cubicBezTo>
                        <a:pt x="1071935" y="957881"/>
                        <a:pt x="1063004" y="957881"/>
                        <a:pt x="1054072" y="957881"/>
                      </a:cubicBezTo>
                      <a:cubicBezTo>
                        <a:pt x="1036209" y="957881"/>
                        <a:pt x="1021323" y="963834"/>
                        <a:pt x="1009414" y="972764"/>
                      </a:cubicBezTo>
                      <a:cubicBezTo>
                        <a:pt x="1009414" y="972764"/>
                        <a:pt x="1009414" y="972764"/>
                        <a:pt x="955825" y="1032295"/>
                      </a:cubicBezTo>
                      <a:cubicBezTo>
                        <a:pt x="955825" y="1032295"/>
                        <a:pt x="952847" y="1035271"/>
                        <a:pt x="949870" y="1035271"/>
                      </a:cubicBezTo>
                      <a:cubicBezTo>
                        <a:pt x="946893" y="1035271"/>
                        <a:pt x="943916" y="1035271"/>
                        <a:pt x="943916" y="1035271"/>
                      </a:cubicBezTo>
                      <a:cubicBezTo>
                        <a:pt x="943916" y="1035271"/>
                        <a:pt x="943916" y="1035271"/>
                        <a:pt x="929030" y="1035271"/>
                      </a:cubicBezTo>
                      <a:cubicBezTo>
                        <a:pt x="920098" y="1032295"/>
                        <a:pt x="911167" y="1026342"/>
                        <a:pt x="896281" y="1017412"/>
                      </a:cubicBezTo>
                      <a:cubicBezTo>
                        <a:pt x="878418" y="1011459"/>
                        <a:pt x="860554" y="996576"/>
                        <a:pt x="836737" y="981693"/>
                      </a:cubicBezTo>
                      <a:cubicBezTo>
                        <a:pt x="815896" y="963834"/>
                        <a:pt x="786124" y="940021"/>
                        <a:pt x="759330" y="910256"/>
                      </a:cubicBezTo>
                      <a:cubicBezTo>
                        <a:pt x="726580" y="883467"/>
                        <a:pt x="705740" y="853701"/>
                        <a:pt x="687877" y="832865"/>
                      </a:cubicBezTo>
                      <a:cubicBezTo>
                        <a:pt x="670014" y="809052"/>
                        <a:pt x="661082" y="788216"/>
                        <a:pt x="652150" y="776310"/>
                      </a:cubicBezTo>
                      <a:cubicBezTo>
                        <a:pt x="643219" y="755474"/>
                        <a:pt x="637264" y="740591"/>
                        <a:pt x="634287" y="728685"/>
                      </a:cubicBezTo>
                      <a:cubicBezTo>
                        <a:pt x="634287" y="725709"/>
                        <a:pt x="634287" y="722732"/>
                        <a:pt x="634287" y="719756"/>
                      </a:cubicBezTo>
                      <a:cubicBezTo>
                        <a:pt x="634287" y="716779"/>
                        <a:pt x="637264" y="713802"/>
                        <a:pt x="637264" y="713802"/>
                      </a:cubicBezTo>
                      <a:cubicBezTo>
                        <a:pt x="637264" y="713802"/>
                        <a:pt x="637264" y="713802"/>
                        <a:pt x="687877" y="666177"/>
                      </a:cubicBezTo>
                      <a:cubicBezTo>
                        <a:pt x="696808" y="657248"/>
                        <a:pt x="702763" y="645341"/>
                        <a:pt x="705740" y="633435"/>
                      </a:cubicBezTo>
                      <a:cubicBezTo>
                        <a:pt x="705740" y="621529"/>
                        <a:pt x="705740" y="609623"/>
                        <a:pt x="699786" y="597716"/>
                      </a:cubicBezTo>
                      <a:cubicBezTo>
                        <a:pt x="699786" y="597716"/>
                        <a:pt x="699786" y="597716"/>
                        <a:pt x="592606" y="398287"/>
                      </a:cubicBezTo>
                      <a:cubicBezTo>
                        <a:pt x="589629" y="392333"/>
                        <a:pt x="583675" y="386380"/>
                        <a:pt x="574743" y="380427"/>
                      </a:cubicBezTo>
                      <a:cubicBezTo>
                        <a:pt x="571766" y="374474"/>
                        <a:pt x="562835" y="374474"/>
                        <a:pt x="553903" y="374474"/>
                      </a:cubicBezTo>
                      <a:close/>
                      <a:moveTo>
                        <a:pt x="829616" y="0"/>
                      </a:moveTo>
                      <a:cubicBezTo>
                        <a:pt x="1041394" y="0"/>
                        <a:pt x="1252799" y="81138"/>
                        <a:pt x="1413586" y="243414"/>
                      </a:cubicBezTo>
                      <a:cubicBezTo>
                        <a:pt x="1717853" y="544890"/>
                        <a:pt x="1736869" y="1024319"/>
                        <a:pt x="1470636" y="1352946"/>
                      </a:cubicBezTo>
                      <a:lnTo>
                        <a:pt x="1457160" y="1367973"/>
                      </a:lnTo>
                      <a:lnTo>
                        <a:pt x="1560979" y="1471865"/>
                      </a:lnTo>
                      <a:cubicBezTo>
                        <a:pt x="2041548" y="1952772"/>
                        <a:pt x="2041548" y="1952772"/>
                        <a:pt x="2041548" y="1952772"/>
                      </a:cubicBezTo>
                      <a:cubicBezTo>
                        <a:pt x="2068337" y="1976601"/>
                        <a:pt x="2068337" y="2015323"/>
                        <a:pt x="2041548" y="2039153"/>
                      </a:cubicBezTo>
                      <a:cubicBezTo>
                        <a:pt x="1979040" y="2104683"/>
                        <a:pt x="1943322" y="2191064"/>
                        <a:pt x="1943322" y="2280423"/>
                      </a:cubicBezTo>
                      <a:cubicBezTo>
                        <a:pt x="1943322" y="2316167"/>
                        <a:pt x="1916533" y="2342975"/>
                        <a:pt x="1883790" y="2342975"/>
                      </a:cubicBezTo>
                      <a:cubicBezTo>
                        <a:pt x="1845095" y="2342975"/>
                        <a:pt x="1821283" y="2316167"/>
                        <a:pt x="1821283" y="2280423"/>
                      </a:cubicBezTo>
                      <a:cubicBezTo>
                        <a:pt x="1821283" y="2179149"/>
                        <a:pt x="1854025" y="2080854"/>
                        <a:pt x="1916533" y="2000430"/>
                      </a:cubicBezTo>
                      <a:cubicBezTo>
                        <a:pt x="1662037" y="1745755"/>
                        <a:pt x="1502976" y="1586584"/>
                        <a:pt x="1403564" y="1487101"/>
                      </a:cubicBezTo>
                      <a:lnTo>
                        <a:pt x="1369240" y="1452753"/>
                      </a:lnTo>
                      <a:lnTo>
                        <a:pt x="1284290" y="1522080"/>
                      </a:lnTo>
                      <a:cubicBezTo>
                        <a:pt x="964118" y="1733113"/>
                        <a:pt x="527396" y="1697940"/>
                        <a:pt x="243414" y="1416563"/>
                      </a:cubicBezTo>
                      <a:cubicBezTo>
                        <a:pt x="-81138" y="1089034"/>
                        <a:pt x="-81138" y="564988"/>
                        <a:pt x="243414" y="243414"/>
                      </a:cubicBezTo>
                      <a:cubicBezTo>
                        <a:pt x="405690" y="81138"/>
                        <a:pt x="617839" y="0"/>
                        <a:pt x="829616"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sp>
        <p:nvSpPr>
          <p:cNvPr id="146" name="TextBox 145">
            <a:extLst>
              <a:ext uri="{FF2B5EF4-FFF2-40B4-BE49-F238E27FC236}">
                <a16:creationId xmlns:a16="http://schemas.microsoft.com/office/drawing/2014/main" id="{D479B568-F3DE-4910-831A-BE9CECFE6488}"/>
              </a:ext>
            </a:extLst>
          </p:cNvPr>
          <p:cNvSpPr txBox="1"/>
          <p:nvPr/>
        </p:nvSpPr>
        <p:spPr bwMode="gray">
          <a:xfrm>
            <a:off x="3517221" y="2011429"/>
            <a:ext cx="2391280" cy="2259886"/>
          </a:xfrm>
          <a:prstGeom prst="rect">
            <a:avLst/>
          </a:prstGeom>
          <a:noFill/>
        </p:spPr>
        <p:txBody>
          <a:bodyPr wrap="square" lIns="0" tIns="0" rIns="0" bIns="0" rtlCol="0" anchor="ctr">
            <a:noAutofit/>
          </a:bodyPr>
          <a:lstStyle/>
          <a:p>
            <a:pPr algn="ctr"/>
            <a:r>
              <a:rPr lang="en-US" sz="1600" spc="-30">
                <a:solidFill>
                  <a:srgbClr val="FFFFFF"/>
                </a:solidFill>
              </a:rPr>
              <a:t>Present in every corner</a:t>
            </a:r>
            <a:br>
              <a:rPr lang="en-US" sz="1600" spc="-30">
                <a:solidFill>
                  <a:srgbClr val="FFFFFF"/>
                </a:solidFill>
              </a:rPr>
            </a:br>
            <a:r>
              <a:rPr lang="en-US" sz="1600" spc="-30">
                <a:solidFill>
                  <a:srgbClr val="FFFFFF"/>
                </a:solidFill>
              </a:rPr>
              <a:t>of India covering 700+ Districts, 2L+ Gram</a:t>
            </a:r>
            <a:br>
              <a:rPr lang="en-US" sz="1600" spc="-30">
                <a:solidFill>
                  <a:srgbClr val="FFFFFF"/>
                </a:solidFill>
              </a:rPr>
            </a:br>
            <a:r>
              <a:rPr lang="en-US" sz="1600" spc="-30">
                <a:solidFill>
                  <a:srgbClr val="FFFFFF"/>
                </a:solidFill>
              </a:rPr>
              <a:t>Panchayats across 6L+  villages</a:t>
            </a:r>
            <a:endParaRPr lang="pl-PL" sz="1600" spc="-30">
              <a:solidFill>
                <a:srgbClr val="FFFFFF"/>
              </a:solidFill>
            </a:endParaRPr>
          </a:p>
        </p:txBody>
      </p:sp>
      <p:sp>
        <p:nvSpPr>
          <p:cNvPr id="149" name="TextBox 148">
            <a:extLst>
              <a:ext uri="{FF2B5EF4-FFF2-40B4-BE49-F238E27FC236}">
                <a16:creationId xmlns:a16="http://schemas.microsoft.com/office/drawing/2014/main" id="{928779B7-2C6F-46CE-AF04-FC5CF64B768F}"/>
              </a:ext>
            </a:extLst>
          </p:cNvPr>
          <p:cNvSpPr txBox="1"/>
          <p:nvPr/>
        </p:nvSpPr>
        <p:spPr bwMode="gray">
          <a:xfrm>
            <a:off x="749594" y="2011429"/>
            <a:ext cx="2391280" cy="2259886"/>
          </a:xfrm>
          <a:prstGeom prst="rect">
            <a:avLst/>
          </a:prstGeom>
          <a:noFill/>
        </p:spPr>
        <p:txBody>
          <a:bodyPr wrap="square" lIns="0" tIns="0" rIns="0" bIns="0" rtlCol="0" anchor="ctr">
            <a:noAutofit/>
          </a:bodyPr>
          <a:lstStyle/>
          <a:p>
            <a:pPr algn="ctr"/>
            <a:r>
              <a:rPr lang="en-US" sz="1600" spc="-30">
                <a:solidFill>
                  <a:srgbClr val="FFFFFF"/>
                </a:solidFill>
              </a:rPr>
              <a:t>100% Govt. of</a:t>
            </a:r>
            <a:br>
              <a:rPr lang="en-US" sz="1600" spc="-30">
                <a:solidFill>
                  <a:srgbClr val="FFFFFF"/>
                </a:solidFill>
              </a:rPr>
            </a:br>
            <a:r>
              <a:rPr lang="en-US" sz="1600" spc="-30">
                <a:solidFill>
                  <a:srgbClr val="FFFFFF"/>
                </a:solidFill>
              </a:rPr>
              <a:t>India owned PSU</a:t>
            </a:r>
          </a:p>
        </p:txBody>
      </p:sp>
      <p:sp>
        <p:nvSpPr>
          <p:cNvPr id="152" name="TextBox 151">
            <a:extLst>
              <a:ext uri="{FF2B5EF4-FFF2-40B4-BE49-F238E27FC236}">
                <a16:creationId xmlns:a16="http://schemas.microsoft.com/office/drawing/2014/main" id="{D57ECC51-7D56-4D07-9781-0402C7FFCDEF}"/>
              </a:ext>
            </a:extLst>
          </p:cNvPr>
          <p:cNvSpPr txBox="1"/>
          <p:nvPr/>
        </p:nvSpPr>
        <p:spPr bwMode="gray">
          <a:xfrm>
            <a:off x="6284847" y="2011429"/>
            <a:ext cx="2391280" cy="2259886"/>
          </a:xfrm>
          <a:prstGeom prst="rect">
            <a:avLst/>
          </a:prstGeom>
          <a:noFill/>
        </p:spPr>
        <p:txBody>
          <a:bodyPr wrap="square" lIns="0" tIns="0" rIns="0" bIns="0" rtlCol="0" anchor="ctr">
            <a:noAutofit/>
          </a:bodyPr>
          <a:lstStyle/>
          <a:p>
            <a:pPr algn="ctr"/>
            <a:r>
              <a:rPr lang="en-US" sz="1600" spc="-30">
                <a:solidFill>
                  <a:srgbClr val="FFFFFF"/>
                </a:solidFill>
              </a:rPr>
              <a:t>Vast network presence</a:t>
            </a:r>
            <a:br>
              <a:rPr lang="en-US" sz="1600" spc="-30">
                <a:solidFill>
                  <a:srgbClr val="FFFFFF"/>
                </a:solidFill>
              </a:rPr>
            </a:br>
            <a:r>
              <a:rPr lang="en-US" sz="1600" spc="-30">
                <a:solidFill>
                  <a:srgbClr val="FFFFFF"/>
                </a:solidFill>
              </a:rPr>
              <a:t>of BSNL covered by</a:t>
            </a:r>
            <a:br>
              <a:rPr lang="en-US" sz="1600" spc="-30">
                <a:solidFill>
                  <a:srgbClr val="FFFFFF"/>
                </a:solidFill>
              </a:rPr>
            </a:br>
            <a:r>
              <a:rPr lang="en-US" sz="1600" spc="-30">
                <a:solidFill>
                  <a:srgbClr val="FFFFFF"/>
                </a:solidFill>
              </a:rPr>
              <a:t>7.9L route km of</a:t>
            </a:r>
            <a:br>
              <a:rPr lang="en-US" sz="1600" spc="-30">
                <a:solidFill>
                  <a:srgbClr val="FFFFFF"/>
                </a:solidFill>
              </a:rPr>
            </a:br>
            <a:r>
              <a:rPr lang="en-US" sz="1600" spc="-30">
                <a:solidFill>
                  <a:srgbClr val="FFFFFF"/>
                </a:solidFill>
              </a:rPr>
              <a:t>optical fiber</a:t>
            </a:r>
          </a:p>
        </p:txBody>
      </p:sp>
      <p:sp>
        <p:nvSpPr>
          <p:cNvPr id="155" name="TextBox 154">
            <a:extLst>
              <a:ext uri="{FF2B5EF4-FFF2-40B4-BE49-F238E27FC236}">
                <a16:creationId xmlns:a16="http://schemas.microsoft.com/office/drawing/2014/main" id="{B6774CDF-C882-4C40-89A1-A36EFF8DB454}"/>
              </a:ext>
            </a:extLst>
          </p:cNvPr>
          <p:cNvSpPr txBox="1"/>
          <p:nvPr/>
        </p:nvSpPr>
        <p:spPr bwMode="gray">
          <a:xfrm>
            <a:off x="9052475" y="2011429"/>
            <a:ext cx="2391280" cy="2259886"/>
          </a:xfrm>
          <a:prstGeom prst="rect">
            <a:avLst/>
          </a:prstGeom>
          <a:noFill/>
        </p:spPr>
        <p:txBody>
          <a:bodyPr wrap="square" lIns="0" tIns="0" rIns="0" bIns="0" rtlCol="0" anchor="ctr">
            <a:noAutofit/>
          </a:bodyPr>
          <a:lstStyle/>
          <a:p>
            <a:pPr algn="ctr"/>
            <a:r>
              <a:rPr lang="en-US" sz="1600" spc="-30">
                <a:solidFill>
                  <a:srgbClr val="FFFFFF"/>
                </a:solidFill>
              </a:rPr>
              <a:t>Serving 65k+ corporate</a:t>
            </a:r>
            <a:br>
              <a:rPr lang="en-US" sz="1600" spc="-30">
                <a:solidFill>
                  <a:srgbClr val="FFFFFF"/>
                </a:solidFill>
              </a:rPr>
            </a:br>
            <a:r>
              <a:rPr lang="en-US" sz="1600" spc="-30">
                <a:solidFill>
                  <a:srgbClr val="FFFFFF"/>
                </a:solidFill>
              </a:rPr>
              <a:t>customer/ /businesses</a:t>
            </a:r>
          </a:p>
        </p:txBody>
      </p:sp>
      <p:graphicFrame>
        <p:nvGraphicFramePr>
          <p:cNvPr id="88" name="Object 87" hidden="1">
            <a:extLst>
              <a:ext uri="{FF2B5EF4-FFF2-40B4-BE49-F238E27FC236}">
                <a16:creationId xmlns:a16="http://schemas.microsoft.com/office/drawing/2014/main" id="{9C36B626-D50F-49DF-955C-7275902E6888}"/>
              </a:ext>
            </a:extLst>
          </p:cNvPr>
          <p:cNvGraphicFramePr>
            <a:graphicFrameLocks noChangeAspect="1"/>
          </p:cNvGraphicFramePr>
          <p:nvPr>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360" imgH="360" progId="TCLayout.ActiveDocument.1">
                  <p:embed/>
                </p:oleObj>
              </mc:Choice>
              <mc:Fallback>
                <p:oleObj name="think-cell Slide" r:id="rId17" imgW="360" imgH="360" progId="TCLayout.ActiveDocument.1">
                  <p:embed/>
                  <p:pic>
                    <p:nvPicPr>
                      <p:cNvPr id="88" name="Object 87" hidden="1">
                        <a:extLst>
                          <a:ext uri="{FF2B5EF4-FFF2-40B4-BE49-F238E27FC236}">
                            <a16:creationId xmlns:a16="http://schemas.microsoft.com/office/drawing/2014/main" id="{9C36B626-D50F-49DF-955C-7275902E6888}"/>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9" name="bcgIcons_Connections ">
            <a:extLst>
              <a:ext uri="{FF2B5EF4-FFF2-40B4-BE49-F238E27FC236}">
                <a16:creationId xmlns:a16="http://schemas.microsoft.com/office/drawing/2014/main" id="{A2EAD9BB-3D13-4223-AA03-E809F5A829D9}"/>
              </a:ext>
            </a:extLst>
          </p:cNvPr>
          <p:cNvGrpSpPr>
            <a:grpSpLocks noChangeAspect="1"/>
          </p:cNvGrpSpPr>
          <p:nvPr/>
        </p:nvGrpSpPr>
        <p:grpSpPr>
          <a:xfrm>
            <a:off x="1520529" y="5126424"/>
            <a:ext cx="394021" cy="394021"/>
            <a:chOff x="5292430" y="2613965"/>
            <a:chExt cx="1645920" cy="1645920"/>
          </a:xfrm>
        </p:grpSpPr>
        <p:sp>
          <p:nvSpPr>
            <p:cNvPr id="90" name="Rectangle 89">
              <a:extLst>
                <a:ext uri="{FF2B5EF4-FFF2-40B4-BE49-F238E27FC236}">
                  <a16:creationId xmlns:a16="http://schemas.microsoft.com/office/drawing/2014/main" id="{4C933C60-B2EF-4077-805F-D3C1C1188760}"/>
                </a:ext>
              </a:extLst>
            </p:cNvPr>
            <p:cNvSpPr/>
            <p:nvPr/>
          </p:nvSpPr>
          <p:spPr>
            <a:xfrm>
              <a:off x="5292430" y="2613965"/>
              <a:ext cx="1645920" cy="1645920"/>
            </a:xfrm>
            <a:prstGeom prst="rect">
              <a:avLst/>
            </a:prstGeom>
            <a:noFill/>
            <a:ln w="9525" cap="rnd">
              <a:noFill/>
              <a:prstDash val="sysDot"/>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grpSp>
          <p:nvGrpSpPr>
            <p:cNvPr id="91" name="Group 90">
              <a:extLst>
                <a:ext uri="{FF2B5EF4-FFF2-40B4-BE49-F238E27FC236}">
                  <a16:creationId xmlns:a16="http://schemas.microsoft.com/office/drawing/2014/main" id="{AAB75539-672C-4D88-9C85-B28CC56E89A0}"/>
                </a:ext>
              </a:extLst>
            </p:cNvPr>
            <p:cNvGrpSpPr/>
            <p:nvPr/>
          </p:nvGrpSpPr>
          <p:grpSpPr>
            <a:xfrm>
              <a:off x="5392149" y="2697974"/>
              <a:ext cx="1446482" cy="1477901"/>
              <a:chOff x="5392149" y="2697974"/>
              <a:chExt cx="1446482" cy="1477901"/>
            </a:xfrm>
          </p:grpSpPr>
          <p:sp>
            <p:nvSpPr>
              <p:cNvPr id="92" name="Freeform 10">
                <a:extLst>
                  <a:ext uri="{FF2B5EF4-FFF2-40B4-BE49-F238E27FC236}">
                    <a16:creationId xmlns:a16="http://schemas.microsoft.com/office/drawing/2014/main" id="{FCF3D4ED-35B8-4F5F-A60D-9B9EFE16E009}"/>
                  </a:ext>
                </a:extLst>
              </p:cNvPr>
              <p:cNvSpPr>
                <a:spLocks noEditPoints="1"/>
              </p:cNvSpPr>
              <p:nvPr/>
            </p:nvSpPr>
            <p:spPr bwMode="auto">
              <a:xfrm>
                <a:off x="5392149" y="2697974"/>
                <a:ext cx="1446482" cy="1477901"/>
              </a:xfrm>
              <a:custGeom>
                <a:avLst/>
                <a:gdLst>
                  <a:gd name="T0" fmla="*/ 1519 w 1900"/>
                  <a:gd name="T1" fmla="*/ 1024 h 1943"/>
                  <a:gd name="T2" fmla="*/ 1900 w 1900"/>
                  <a:gd name="T3" fmla="*/ 1002 h 1943"/>
                  <a:gd name="T4" fmla="*/ 1519 w 1900"/>
                  <a:gd name="T5" fmla="*/ 980 h 1943"/>
                  <a:gd name="T6" fmla="*/ 1164 w 1900"/>
                  <a:gd name="T7" fmla="*/ 690 h 1943"/>
                  <a:gd name="T8" fmla="*/ 1356 w 1900"/>
                  <a:gd name="T9" fmla="*/ 354 h 1943"/>
                  <a:gd name="T10" fmla="*/ 1356 w 1900"/>
                  <a:gd name="T11" fmla="*/ 44 h 1943"/>
                  <a:gd name="T12" fmla="*/ 1274 w 1900"/>
                  <a:gd name="T13" fmla="*/ 330 h 1943"/>
                  <a:gd name="T14" fmla="*/ 1003 w 1900"/>
                  <a:gd name="T15" fmla="*/ 651 h 1943"/>
                  <a:gd name="T16" fmla="*/ 445 w 1900"/>
                  <a:gd name="T17" fmla="*/ 413 h 1943"/>
                  <a:gd name="T18" fmla="*/ 252 w 1900"/>
                  <a:gd name="T19" fmla="*/ 0 h 1943"/>
                  <a:gd name="T20" fmla="*/ 252 w 1900"/>
                  <a:gd name="T21" fmla="*/ 504 h 1943"/>
                  <a:gd name="T22" fmla="*/ 739 w 1900"/>
                  <a:gd name="T23" fmla="*/ 770 h 1943"/>
                  <a:gd name="T24" fmla="*/ 736 w 1900"/>
                  <a:gd name="T25" fmla="*/ 1230 h 1943"/>
                  <a:gd name="T26" fmla="*/ 359 w 1900"/>
                  <a:gd name="T27" fmla="*/ 1314 h 1943"/>
                  <a:gd name="T28" fmla="*/ 359 w 1900"/>
                  <a:gd name="T29" fmla="*/ 1943 h 1943"/>
                  <a:gd name="T30" fmla="*/ 599 w 1900"/>
                  <a:gd name="T31" fmla="*/ 1426 h 1943"/>
                  <a:gd name="T32" fmla="*/ 1003 w 1900"/>
                  <a:gd name="T33" fmla="*/ 1353 h 1943"/>
                  <a:gd name="T34" fmla="*/ 1343 w 1900"/>
                  <a:gd name="T35" fmla="*/ 1449 h 1943"/>
                  <a:gd name="T36" fmla="*/ 1519 w 1900"/>
                  <a:gd name="T37" fmla="*/ 1880 h 1943"/>
                  <a:gd name="T38" fmla="*/ 1519 w 1900"/>
                  <a:gd name="T39" fmla="*/ 1377 h 1943"/>
                  <a:gd name="T40" fmla="*/ 1242 w 1900"/>
                  <a:gd name="T41" fmla="*/ 1258 h 1943"/>
                  <a:gd name="T42" fmla="*/ 1563 w 1900"/>
                  <a:gd name="T43" fmla="*/ 980 h 1943"/>
                  <a:gd name="T44" fmla="*/ 1856 w 1900"/>
                  <a:gd name="T45" fmla="*/ 1002 h 1943"/>
                  <a:gd name="T46" fmla="*/ 1563 w 1900"/>
                  <a:gd name="T47" fmla="*/ 1024 h 1943"/>
                  <a:gd name="T48" fmla="*/ 1563 w 1900"/>
                  <a:gd name="T49" fmla="*/ 980 h 1943"/>
                  <a:gd name="T50" fmla="*/ 1356 w 1900"/>
                  <a:gd name="T51" fmla="*/ 88 h 1943"/>
                  <a:gd name="T52" fmla="*/ 1356 w 1900"/>
                  <a:gd name="T53" fmla="*/ 310 h 1943"/>
                  <a:gd name="T54" fmla="*/ 1292 w 1900"/>
                  <a:gd name="T55" fmla="*/ 289 h 1943"/>
                  <a:gd name="T56" fmla="*/ 252 w 1900"/>
                  <a:gd name="T57" fmla="*/ 460 h 1943"/>
                  <a:gd name="T58" fmla="*/ 252 w 1900"/>
                  <a:gd name="T59" fmla="*/ 44 h 1943"/>
                  <a:gd name="T60" fmla="*/ 414 w 1900"/>
                  <a:gd name="T61" fmla="*/ 382 h 1943"/>
                  <a:gd name="T62" fmla="*/ 252 w 1900"/>
                  <a:gd name="T63" fmla="*/ 460 h 1943"/>
                  <a:gd name="T64" fmla="*/ 359 w 1900"/>
                  <a:gd name="T65" fmla="*/ 1899 h 1943"/>
                  <a:gd name="T66" fmla="*/ 359 w 1900"/>
                  <a:gd name="T67" fmla="*/ 1358 h 1943"/>
                  <a:gd name="T68" fmla="*/ 567 w 1900"/>
                  <a:gd name="T69" fmla="*/ 1456 h 1943"/>
                  <a:gd name="T70" fmla="*/ 1405 w 1900"/>
                  <a:gd name="T71" fmla="*/ 1455 h 1943"/>
                  <a:gd name="T72" fmla="*/ 1727 w 1900"/>
                  <a:gd name="T73" fmla="*/ 1629 h 1943"/>
                  <a:gd name="T74" fmla="*/ 1311 w 1900"/>
                  <a:gd name="T75" fmla="*/ 1629 h 1943"/>
                  <a:gd name="T76" fmla="*/ 1405 w 1900"/>
                  <a:gd name="T77" fmla="*/ 1455 h 1943"/>
                  <a:gd name="T78" fmla="*/ 1180 w 1900"/>
                  <a:gd name="T79" fmla="*/ 1252 h 1943"/>
                  <a:gd name="T80" fmla="*/ 798 w 1900"/>
                  <a:gd name="T81" fmla="*/ 1231 h 1943"/>
                  <a:gd name="T82" fmla="*/ 695 w 1900"/>
                  <a:gd name="T83" fmla="*/ 1002 h 1943"/>
                  <a:gd name="T84" fmla="*/ 802 w 1900"/>
                  <a:gd name="T85" fmla="*/ 770 h 1943"/>
                  <a:gd name="T86" fmla="*/ 1106 w 1900"/>
                  <a:gd name="T87" fmla="*/ 713 h 1943"/>
                  <a:gd name="T88" fmla="*/ 1309 w 1900"/>
                  <a:gd name="T89" fmla="*/ 980 h 1943"/>
                  <a:gd name="T90" fmla="*/ 1309 w 1900"/>
                  <a:gd name="T91" fmla="*/ 1024 h 1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00" h="1943">
                    <a:moveTo>
                      <a:pt x="1353" y="1024"/>
                    </a:moveTo>
                    <a:cubicBezTo>
                      <a:pt x="1519" y="1024"/>
                      <a:pt x="1519" y="1024"/>
                      <a:pt x="1519" y="1024"/>
                    </a:cubicBezTo>
                    <a:cubicBezTo>
                      <a:pt x="1530" y="1119"/>
                      <a:pt x="1611" y="1193"/>
                      <a:pt x="1709" y="1193"/>
                    </a:cubicBezTo>
                    <a:cubicBezTo>
                      <a:pt x="1814" y="1193"/>
                      <a:pt x="1900" y="1107"/>
                      <a:pt x="1900" y="1002"/>
                    </a:cubicBezTo>
                    <a:cubicBezTo>
                      <a:pt x="1900" y="897"/>
                      <a:pt x="1814" y="811"/>
                      <a:pt x="1709" y="811"/>
                    </a:cubicBezTo>
                    <a:cubicBezTo>
                      <a:pt x="1611" y="811"/>
                      <a:pt x="1530" y="885"/>
                      <a:pt x="1519" y="980"/>
                    </a:cubicBezTo>
                    <a:cubicBezTo>
                      <a:pt x="1353" y="980"/>
                      <a:pt x="1353" y="980"/>
                      <a:pt x="1353" y="980"/>
                    </a:cubicBezTo>
                    <a:cubicBezTo>
                      <a:pt x="1345" y="854"/>
                      <a:pt x="1270" y="745"/>
                      <a:pt x="1164" y="690"/>
                    </a:cubicBezTo>
                    <a:cubicBezTo>
                      <a:pt x="1314" y="348"/>
                      <a:pt x="1314" y="348"/>
                      <a:pt x="1314" y="348"/>
                    </a:cubicBezTo>
                    <a:cubicBezTo>
                      <a:pt x="1327" y="352"/>
                      <a:pt x="1341" y="354"/>
                      <a:pt x="1356" y="354"/>
                    </a:cubicBezTo>
                    <a:cubicBezTo>
                      <a:pt x="1441" y="354"/>
                      <a:pt x="1511" y="284"/>
                      <a:pt x="1511" y="199"/>
                    </a:cubicBezTo>
                    <a:cubicBezTo>
                      <a:pt x="1511" y="113"/>
                      <a:pt x="1441" y="44"/>
                      <a:pt x="1356" y="44"/>
                    </a:cubicBezTo>
                    <a:cubicBezTo>
                      <a:pt x="1270" y="44"/>
                      <a:pt x="1201" y="113"/>
                      <a:pt x="1201" y="199"/>
                    </a:cubicBezTo>
                    <a:cubicBezTo>
                      <a:pt x="1201" y="254"/>
                      <a:pt x="1230" y="303"/>
                      <a:pt x="1274" y="330"/>
                    </a:cubicBezTo>
                    <a:cubicBezTo>
                      <a:pt x="1123" y="672"/>
                      <a:pt x="1123" y="672"/>
                      <a:pt x="1123" y="672"/>
                    </a:cubicBezTo>
                    <a:cubicBezTo>
                      <a:pt x="1086" y="659"/>
                      <a:pt x="1045" y="651"/>
                      <a:pt x="1003" y="651"/>
                    </a:cubicBezTo>
                    <a:cubicBezTo>
                      <a:pt x="914" y="651"/>
                      <a:pt x="832" y="684"/>
                      <a:pt x="770" y="739"/>
                    </a:cubicBezTo>
                    <a:cubicBezTo>
                      <a:pt x="445" y="413"/>
                      <a:pt x="445" y="413"/>
                      <a:pt x="445" y="413"/>
                    </a:cubicBezTo>
                    <a:cubicBezTo>
                      <a:pt x="482" y="370"/>
                      <a:pt x="504" y="313"/>
                      <a:pt x="504" y="252"/>
                    </a:cubicBezTo>
                    <a:cubicBezTo>
                      <a:pt x="504" y="113"/>
                      <a:pt x="391" y="0"/>
                      <a:pt x="252" y="0"/>
                    </a:cubicBezTo>
                    <a:cubicBezTo>
                      <a:pt x="113" y="0"/>
                      <a:pt x="0" y="113"/>
                      <a:pt x="0" y="252"/>
                    </a:cubicBezTo>
                    <a:cubicBezTo>
                      <a:pt x="0" y="391"/>
                      <a:pt x="113" y="504"/>
                      <a:pt x="252" y="504"/>
                    </a:cubicBezTo>
                    <a:cubicBezTo>
                      <a:pt x="314" y="504"/>
                      <a:pt x="370" y="481"/>
                      <a:pt x="414" y="445"/>
                    </a:cubicBezTo>
                    <a:cubicBezTo>
                      <a:pt x="739" y="770"/>
                      <a:pt x="739" y="770"/>
                      <a:pt x="739" y="770"/>
                    </a:cubicBezTo>
                    <a:cubicBezTo>
                      <a:pt x="685" y="832"/>
                      <a:pt x="651" y="913"/>
                      <a:pt x="651" y="1002"/>
                    </a:cubicBezTo>
                    <a:cubicBezTo>
                      <a:pt x="651" y="1089"/>
                      <a:pt x="683" y="1169"/>
                      <a:pt x="736" y="1230"/>
                    </a:cubicBezTo>
                    <a:cubicBezTo>
                      <a:pt x="568" y="1394"/>
                      <a:pt x="568" y="1394"/>
                      <a:pt x="568" y="1394"/>
                    </a:cubicBezTo>
                    <a:cubicBezTo>
                      <a:pt x="512" y="1345"/>
                      <a:pt x="439" y="1314"/>
                      <a:pt x="359" y="1314"/>
                    </a:cubicBezTo>
                    <a:cubicBezTo>
                      <a:pt x="186" y="1314"/>
                      <a:pt x="45" y="1455"/>
                      <a:pt x="45" y="1629"/>
                    </a:cubicBezTo>
                    <a:cubicBezTo>
                      <a:pt x="45" y="1802"/>
                      <a:pt x="186" y="1943"/>
                      <a:pt x="359" y="1943"/>
                    </a:cubicBezTo>
                    <a:cubicBezTo>
                      <a:pt x="532" y="1943"/>
                      <a:pt x="673" y="1802"/>
                      <a:pt x="673" y="1629"/>
                    </a:cubicBezTo>
                    <a:cubicBezTo>
                      <a:pt x="673" y="1551"/>
                      <a:pt x="645" y="1481"/>
                      <a:pt x="599" y="1426"/>
                    </a:cubicBezTo>
                    <a:cubicBezTo>
                      <a:pt x="767" y="1262"/>
                      <a:pt x="767" y="1262"/>
                      <a:pt x="767" y="1262"/>
                    </a:cubicBezTo>
                    <a:cubicBezTo>
                      <a:pt x="829" y="1319"/>
                      <a:pt x="912" y="1353"/>
                      <a:pt x="1003" y="1353"/>
                    </a:cubicBezTo>
                    <a:cubicBezTo>
                      <a:pt x="1079" y="1353"/>
                      <a:pt x="1151" y="1328"/>
                      <a:pt x="1208" y="1286"/>
                    </a:cubicBezTo>
                    <a:cubicBezTo>
                      <a:pt x="1343" y="1449"/>
                      <a:pt x="1343" y="1449"/>
                      <a:pt x="1343" y="1449"/>
                    </a:cubicBezTo>
                    <a:cubicBezTo>
                      <a:pt x="1296" y="1495"/>
                      <a:pt x="1267" y="1558"/>
                      <a:pt x="1267" y="1629"/>
                    </a:cubicBezTo>
                    <a:cubicBezTo>
                      <a:pt x="1267" y="1767"/>
                      <a:pt x="1380" y="1880"/>
                      <a:pt x="1519" y="1880"/>
                    </a:cubicBezTo>
                    <a:cubicBezTo>
                      <a:pt x="1658" y="1880"/>
                      <a:pt x="1771" y="1767"/>
                      <a:pt x="1771" y="1629"/>
                    </a:cubicBezTo>
                    <a:cubicBezTo>
                      <a:pt x="1771" y="1490"/>
                      <a:pt x="1658" y="1377"/>
                      <a:pt x="1519" y="1377"/>
                    </a:cubicBezTo>
                    <a:cubicBezTo>
                      <a:pt x="1466" y="1377"/>
                      <a:pt x="1417" y="1393"/>
                      <a:pt x="1377" y="1421"/>
                    </a:cubicBezTo>
                    <a:cubicBezTo>
                      <a:pt x="1242" y="1258"/>
                      <a:pt x="1242" y="1258"/>
                      <a:pt x="1242" y="1258"/>
                    </a:cubicBezTo>
                    <a:cubicBezTo>
                      <a:pt x="1306" y="1199"/>
                      <a:pt x="1347" y="1116"/>
                      <a:pt x="1353" y="1024"/>
                    </a:cubicBezTo>
                    <a:close/>
                    <a:moveTo>
                      <a:pt x="1563" y="980"/>
                    </a:moveTo>
                    <a:cubicBezTo>
                      <a:pt x="1574" y="909"/>
                      <a:pt x="1635" y="855"/>
                      <a:pt x="1709" y="855"/>
                    </a:cubicBezTo>
                    <a:cubicBezTo>
                      <a:pt x="1790" y="855"/>
                      <a:pt x="1856" y="921"/>
                      <a:pt x="1856" y="1002"/>
                    </a:cubicBezTo>
                    <a:cubicBezTo>
                      <a:pt x="1856" y="1083"/>
                      <a:pt x="1790" y="1149"/>
                      <a:pt x="1709" y="1149"/>
                    </a:cubicBezTo>
                    <a:cubicBezTo>
                      <a:pt x="1635" y="1149"/>
                      <a:pt x="1574" y="1095"/>
                      <a:pt x="1563" y="1024"/>
                    </a:cubicBezTo>
                    <a:cubicBezTo>
                      <a:pt x="1562" y="1017"/>
                      <a:pt x="1562" y="1009"/>
                      <a:pt x="1562" y="1002"/>
                    </a:cubicBezTo>
                    <a:cubicBezTo>
                      <a:pt x="1562" y="995"/>
                      <a:pt x="1562" y="987"/>
                      <a:pt x="1563" y="980"/>
                    </a:cubicBezTo>
                    <a:close/>
                    <a:moveTo>
                      <a:pt x="1245" y="199"/>
                    </a:moveTo>
                    <a:cubicBezTo>
                      <a:pt x="1245" y="138"/>
                      <a:pt x="1294" y="88"/>
                      <a:pt x="1356" y="88"/>
                    </a:cubicBezTo>
                    <a:cubicBezTo>
                      <a:pt x="1417" y="88"/>
                      <a:pt x="1467" y="138"/>
                      <a:pt x="1467" y="199"/>
                    </a:cubicBezTo>
                    <a:cubicBezTo>
                      <a:pt x="1467" y="260"/>
                      <a:pt x="1417" y="310"/>
                      <a:pt x="1356" y="310"/>
                    </a:cubicBezTo>
                    <a:cubicBezTo>
                      <a:pt x="1348" y="310"/>
                      <a:pt x="1340" y="309"/>
                      <a:pt x="1332" y="307"/>
                    </a:cubicBezTo>
                    <a:cubicBezTo>
                      <a:pt x="1317" y="304"/>
                      <a:pt x="1304" y="298"/>
                      <a:pt x="1292" y="289"/>
                    </a:cubicBezTo>
                    <a:cubicBezTo>
                      <a:pt x="1263" y="269"/>
                      <a:pt x="1245" y="236"/>
                      <a:pt x="1245" y="199"/>
                    </a:cubicBezTo>
                    <a:close/>
                    <a:moveTo>
                      <a:pt x="252" y="460"/>
                    </a:moveTo>
                    <a:cubicBezTo>
                      <a:pt x="138" y="460"/>
                      <a:pt x="44" y="367"/>
                      <a:pt x="44" y="252"/>
                    </a:cubicBezTo>
                    <a:cubicBezTo>
                      <a:pt x="44" y="137"/>
                      <a:pt x="138" y="44"/>
                      <a:pt x="252" y="44"/>
                    </a:cubicBezTo>
                    <a:cubicBezTo>
                      <a:pt x="367" y="44"/>
                      <a:pt x="460" y="137"/>
                      <a:pt x="460" y="252"/>
                    </a:cubicBezTo>
                    <a:cubicBezTo>
                      <a:pt x="460" y="301"/>
                      <a:pt x="443" y="347"/>
                      <a:pt x="414" y="382"/>
                    </a:cubicBezTo>
                    <a:cubicBezTo>
                      <a:pt x="405" y="394"/>
                      <a:pt x="394" y="404"/>
                      <a:pt x="383" y="413"/>
                    </a:cubicBezTo>
                    <a:cubicBezTo>
                      <a:pt x="347" y="442"/>
                      <a:pt x="302" y="460"/>
                      <a:pt x="252" y="460"/>
                    </a:cubicBezTo>
                    <a:close/>
                    <a:moveTo>
                      <a:pt x="629" y="1629"/>
                    </a:moveTo>
                    <a:cubicBezTo>
                      <a:pt x="629" y="1778"/>
                      <a:pt x="508" y="1899"/>
                      <a:pt x="359" y="1899"/>
                    </a:cubicBezTo>
                    <a:cubicBezTo>
                      <a:pt x="210" y="1899"/>
                      <a:pt x="89" y="1778"/>
                      <a:pt x="89" y="1629"/>
                    </a:cubicBezTo>
                    <a:cubicBezTo>
                      <a:pt x="89" y="1479"/>
                      <a:pt x="210" y="1358"/>
                      <a:pt x="359" y="1358"/>
                    </a:cubicBezTo>
                    <a:cubicBezTo>
                      <a:pt x="427" y="1358"/>
                      <a:pt x="489" y="1383"/>
                      <a:pt x="536" y="1425"/>
                    </a:cubicBezTo>
                    <a:cubicBezTo>
                      <a:pt x="547" y="1435"/>
                      <a:pt x="558" y="1445"/>
                      <a:pt x="567" y="1456"/>
                    </a:cubicBezTo>
                    <a:cubicBezTo>
                      <a:pt x="606" y="1503"/>
                      <a:pt x="629" y="1563"/>
                      <a:pt x="629" y="1629"/>
                    </a:cubicBezTo>
                    <a:close/>
                    <a:moveTo>
                      <a:pt x="1405" y="1455"/>
                    </a:moveTo>
                    <a:cubicBezTo>
                      <a:pt x="1437" y="1433"/>
                      <a:pt x="1477" y="1421"/>
                      <a:pt x="1519" y="1421"/>
                    </a:cubicBezTo>
                    <a:cubicBezTo>
                      <a:pt x="1634" y="1421"/>
                      <a:pt x="1727" y="1514"/>
                      <a:pt x="1727" y="1629"/>
                    </a:cubicBezTo>
                    <a:cubicBezTo>
                      <a:pt x="1727" y="1743"/>
                      <a:pt x="1634" y="1836"/>
                      <a:pt x="1519" y="1836"/>
                    </a:cubicBezTo>
                    <a:cubicBezTo>
                      <a:pt x="1404" y="1836"/>
                      <a:pt x="1311" y="1743"/>
                      <a:pt x="1311" y="1629"/>
                    </a:cubicBezTo>
                    <a:cubicBezTo>
                      <a:pt x="1311" y="1572"/>
                      <a:pt x="1334" y="1521"/>
                      <a:pt x="1371" y="1483"/>
                    </a:cubicBezTo>
                    <a:cubicBezTo>
                      <a:pt x="1381" y="1473"/>
                      <a:pt x="1392" y="1463"/>
                      <a:pt x="1405" y="1455"/>
                    </a:cubicBezTo>
                    <a:close/>
                    <a:moveTo>
                      <a:pt x="1214" y="1224"/>
                    </a:moveTo>
                    <a:cubicBezTo>
                      <a:pt x="1204" y="1234"/>
                      <a:pt x="1192" y="1244"/>
                      <a:pt x="1180" y="1252"/>
                    </a:cubicBezTo>
                    <a:cubicBezTo>
                      <a:pt x="1130" y="1288"/>
                      <a:pt x="1069" y="1309"/>
                      <a:pt x="1003" y="1309"/>
                    </a:cubicBezTo>
                    <a:cubicBezTo>
                      <a:pt x="924" y="1309"/>
                      <a:pt x="853" y="1280"/>
                      <a:pt x="798" y="1231"/>
                    </a:cubicBezTo>
                    <a:cubicBezTo>
                      <a:pt x="787" y="1222"/>
                      <a:pt x="777" y="1211"/>
                      <a:pt x="768" y="1200"/>
                    </a:cubicBezTo>
                    <a:cubicBezTo>
                      <a:pt x="723" y="1146"/>
                      <a:pt x="695" y="1077"/>
                      <a:pt x="695" y="1002"/>
                    </a:cubicBezTo>
                    <a:cubicBezTo>
                      <a:pt x="695" y="925"/>
                      <a:pt x="724" y="855"/>
                      <a:pt x="770" y="801"/>
                    </a:cubicBezTo>
                    <a:cubicBezTo>
                      <a:pt x="780" y="790"/>
                      <a:pt x="790" y="780"/>
                      <a:pt x="802" y="770"/>
                    </a:cubicBezTo>
                    <a:cubicBezTo>
                      <a:pt x="855" y="723"/>
                      <a:pt x="926" y="695"/>
                      <a:pt x="1003" y="695"/>
                    </a:cubicBezTo>
                    <a:cubicBezTo>
                      <a:pt x="1039" y="695"/>
                      <a:pt x="1073" y="701"/>
                      <a:pt x="1106" y="713"/>
                    </a:cubicBezTo>
                    <a:cubicBezTo>
                      <a:pt x="1120" y="718"/>
                      <a:pt x="1133" y="724"/>
                      <a:pt x="1146" y="730"/>
                    </a:cubicBezTo>
                    <a:cubicBezTo>
                      <a:pt x="1237" y="779"/>
                      <a:pt x="1301" y="872"/>
                      <a:pt x="1309" y="980"/>
                    </a:cubicBezTo>
                    <a:cubicBezTo>
                      <a:pt x="1309" y="987"/>
                      <a:pt x="1310" y="995"/>
                      <a:pt x="1310" y="1002"/>
                    </a:cubicBezTo>
                    <a:cubicBezTo>
                      <a:pt x="1310" y="1009"/>
                      <a:pt x="1309" y="1017"/>
                      <a:pt x="1309" y="1024"/>
                    </a:cubicBezTo>
                    <a:cubicBezTo>
                      <a:pt x="1303" y="1103"/>
                      <a:pt x="1268" y="1173"/>
                      <a:pt x="1214" y="12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93" name="Freeform 16">
                <a:extLst>
                  <a:ext uri="{FF2B5EF4-FFF2-40B4-BE49-F238E27FC236}">
                    <a16:creationId xmlns:a16="http://schemas.microsoft.com/office/drawing/2014/main" id="{A115652A-C27A-4BFC-BCC2-7E50DCCBBC63}"/>
                  </a:ext>
                </a:extLst>
              </p:cNvPr>
              <p:cNvSpPr>
                <a:spLocks noChangeArrowheads="1"/>
              </p:cNvSpPr>
              <p:nvPr/>
            </p:nvSpPr>
            <p:spPr bwMode="auto">
              <a:xfrm>
                <a:off x="5459504" y="2764424"/>
                <a:ext cx="1312612" cy="1345000"/>
              </a:xfrm>
              <a:custGeom>
                <a:avLst/>
                <a:gdLst>
                  <a:gd name="connsiteX0" fmla="*/ 1089071 w 1312612"/>
                  <a:gd name="connsiteY0" fmla="*/ 1048073 h 1345000"/>
                  <a:gd name="connsiteX1" fmla="*/ 1214102 w 1312612"/>
                  <a:gd name="connsiteY1" fmla="*/ 1172563 h 1345000"/>
                  <a:gd name="connsiteX2" fmla="*/ 1089071 w 1312612"/>
                  <a:gd name="connsiteY2" fmla="*/ 1297053 h 1345000"/>
                  <a:gd name="connsiteX3" fmla="*/ 964040 w 1312612"/>
                  <a:gd name="connsiteY3" fmla="*/ 1172563 h 1345000"/>
                  <a:gd name="connsiteX4" fmla="*/ 1089071 w 1312612"/>
                  <a:gd name="connsiteY4" fmla="*/ 1048073 h 1345000"/>
                  <a:gd name="connsiteX5" fmla="*/ 205860 w 1312612"/>
                  <a:gd name="connsiteY5" fmla="*/ 1000128 h 1345000"/>
                  <a:gd name="connsiteX6" fmla="*/ 378041 w 1312612"/>
                  <a:gd name="connsiteY6" fmla="*/ 1172564 h 1345000"/>
                  <a:gd name="connsiteX7" fmla="*/ 205860 w 1312612"/>
                  <a:gd name="connsiteY7" fmla="*/ 1345000 h 1345000"/>
                  <a:gd name="connsiteX8" fmla="*/ 33679 w 1312612"/>
                  <a:gd name="connsiteY8" fmla="*/ 1172564 h 1345000"/>
                  <a:gd name="connsiteX9" fmla="*/ 205860 w 1312612"/>
                  <a:gd name="connsiteY9" fmla="*/ 1000128 h 1345000"/>
                  <a:gd name="connsiteX10" fmla="*/ 1233888 w 1312612"/>
                  <a:gd name="connsiteY10" fmla="*/ 617404 h 1345000"/>
                  <a:gd name="connsiteX11" fmla="*/ 1312612 w 1312612"/>
                  <a:gd name="connsiteY11" fmla="*/ 695631 h 1345000"/>
                  <a:gd name="connsiteX12" fmla="*/ 1233888 w 1312612"/>
                  <a:gd name="connsiteY12" fmla="*/ 773858 h 1345000"/>
                  <a:gd name="connsiteX13" fmla="*/ 1155164 w 1312612"/>
                  <a:gd name="connsiteY13" fmla="*/ 695631 h 1345000"/>
                  <a:gd name="connsiteX14" fmla="*/ 1233888 w 1312612"/>
                  <a:gd name="connsiteY14" fmla="*/ 617404 h 1345000"/>
                  <a:gd name="connsiteX15" fmla="*/ 695878 w 1312612"/>
                  <a:gd name="connsiteY15" fmla="*/ 495438 h 1345000"/>
                  <a:gd name="connsiteX16" fmla="*/ 896685 w 1312612"/>
                  <a:gd name="connsiteY16" fmla="*/ 695632 h 1345000"/>
                  <a:gd name="connsiteX17" fmla="*/ 695878 w 1312612"/>
                  <a:gd name="connsiteY17" fmla="*/ 895826 h 1345000"/>
                  <a:gd name="connsiteX18" fmla="*/ 495071 w 1312612"/>
                  <a:gd name="connsiteY18" fmla="*/ 695632 h 1345000"/>
                  <a:gd name="connsiteX19" fmla="*/ 695878 w 1312612"/>
                  <a:gd name="connsiteY19" fmla="*/ 495438 h 1345000"/>
                  <a:gd name="connsiteX20" fmla="*/ 965304 w 1312612"/>
                  <a:gd name="connsiteY20" fmla="*/ 33646 h 1345000"/>
                  <a:gd name="connsiteX21" fmla="*/ 1016243 w 1312612"/>
                  <a:gd name="connsiteY21" fmla="*/ 84536 h 1345000"/>
                  <a:gd name="connsiteX22" fmla="*/ 965304 w 1312612"/>
                  <a:gd name="connsiteY22" fmla="*/ 135426 h 1345000"/>
                  <a:gd name="connsiteX23" fmla="*/ 914365 w 1312612"/>
                  <a:gd name="connsiteY23" fmla="*/ 84536 h 1345000"/>
                  <a:gd name="connsiteX24" fmla="*/ 965304 w 1312612"/>
                  <a:gd name="connsiteY24" fmla="*/ 33646 h 1345000"/>
                  <a:gd name="connsiteX25" fmla="*/ 124610 w 1312612"/>
                  <a:gd name="connsiteY25" fmla="*/ 0 h 1345000"/>
                  <a:gd name="connsiteX26" fmla="*/ 249220 w 1312612"/>
                  <a:gd name="connsiteY26" fmla="*/ 124911 h 1345000"/>
                  <a:gd name="connsiteX27" fmla="*/ 124610 w 1312612"/>
                  <a:gd name="connsiteY27" fmla="*/ 249822 h 1345000"/>
                  <a:gd name="connsiteX28" fmla="*/ 0 w 1312612"/>
                  <a:gd name="connsiteY28" fmla="*/ 124911 h 1345000"/>
                  <a:gd name="connsiteX29" fmla="*/ 124610 w 1312612"/>
                  <a:gd name="connsiteY29" fmla="*/ 0 h 134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12612" h="1345000">
                    <a:moveTo>
                      <a:pt x="1089071" y="1048073"/>
                    </a:moveTo>
                    <a:cubicBezTo>
                      <a:pt x="1158124" y="1048073"/>
                      <a:pt x="1214102" y="1103809"/>
                      <a:pt x="1214102" y="1172563"/>
                    </a:cubicBezTo>
                    <a:cubicBezTo>
                      <a:pt x="1214102" y="1241317"/>
                      <a:pt x="1158124" y="1297053"/>
                      <a:pt x="1089071" y="1297053"/>
                    </a:cubicBezTo>
                    <a:cubicBezTo>
                      <a:pt x="1020018" y="1297053"/>
                      <a:pt x="964040" y="1241317"/>
                      <a:pt x="964040" y="1172563"/>
                    </a:cubicBezTo>
                    <a:cubicBezTo>
                      <a:pt x="964040" y="1103809"/>
                      <a:pt x="1020018" y="1048073"/>
                      <a:pt x="1089071" y="1048073"/>
                    </a:cubicBezTo>
                    <a:close/>
                    <a:moveTo>
                      <a:pt x="205860" y="1000128"/>
                    </a:moveTo>
                    <a:cubicBezTo>
                      <a:pt x="300953" y="1000128"/>
                      <a:pt x="378041" y="1077330"/>
                      <a:pt x="378041" y="1172564"/>
                    </a:cubicBezTo>
                    <a:cubicBezTo>
                      <a:pt x="378041" y="1267798"/>
                      <a:pt x="300953" y="1345000"/>
                      <a:pt x="205860" y="1345000"/>
                    </a:cubicBezTo>
                    <a:cubicBezTo>
                      <a:pt x="110767" y="1345000"/>
                      <a:pt x="33679" y="1267798"/>
                      <a:pt x="33679" y="1172564"/>
                    </a:cubicBezTo>
                    <a:cubicBezTo>
                      <a:pt x="33679" y="1077330"/>
                      <a:pt x="110767" y="1000128"/>
                      <a:pt x="205860" y="1000128"/>
                    </a:cubicBezTo>
                    <a:close/>
                    <a:moveTo>
                      <a:pt x="1233888" y="617404"/>
                    </a:moveTo>
                    <a:cubicBezTo>
                      <a:pt x="1277366" y="617404"/>
                      <a:pt x="1312612" y="652427"/>
                      <a:pt x="1312612" y="695631"/>
                    </a:cubicBezTo>
                    <a:cubicBezTo>
                      <a:pt x="1312612" y="738835"/>
                      <a:pt x="1277366" y="773858"/>
                      <a:pt x="1233888" y="773858"/>
                    </a:cubicBezTo>
                    <a:cubicBezTo>
                      <a:pt x="1190410" y="773858"/>
                      <a:pt x="1155164" y="738835"/>
                      <a:pt x="1155164" y="695631"/>
                    </a:cubicBezTo>
                    <a:cubicBezTo>
                      <a:pt x="1155164" y="652427"/>
                      <a:pt x="1190410" y="617404"/>
                      <a:pt x="1233888" y="617404"/>
                    </a:cubicBezTo>
                    <a:close/>
                    <a:moveTo>
                      <a:pt x="695878" y="495438"/>
                    </a:moveTo>
                    <a:cubicBezTo>
                      <a:pt x="806781" y="495438"/>
                      <a:pt x="896685" y="585068"/>
                      <a:pt x="896685" y="695632"/>
                    </a:cubicBezTo>
                    <a:cubicBezTo>
                      <a:pt x="896685" y="806196"/>
                      <a:pt x="806781" y="895826"/>
                      <a:pt x="695878" y="895826"/>
                    </a:cubicBezTo>
                    <a:cubicBezTo>
                      <a:pt x="584975" y="895826"/>
                      <a:pt x="495071" y="806196"/>
                      <a:pt x="495071" y="695632"/>
                    </a:cubicBezTo>
                    <a:cubicBezTo>
                      <a:pt x="495071" y="585068"/>
                      <a:pt x="584975" y="495438"/>
                      <a:pt x="695878" y="495438"/>
                    </a:cubicBezTo>
                    <a:close/>
                    <a:moveTo>
                      <a:pt x="965304" y="33646"/>
                    </a:moveTo>
                    <a:cubicBezTo>
                      <a:pt x="993437" y="33646"/>
                      <a:pt x="1016243" y="56430"/>
                      <a:pt x="1016243" y="84536"/>
                    </a:cubicBezTo>
                    <a:cubicBezTo>
                      <a:pt x="1016243" y="112642"/>
                      <a:pt x="993437" y="135426"/>
                      <a:pt x="965304" y="135426"/>
                    </a:cubicBezTo>
                    <a:cubicBezTo>
                      <a:pt x="937171" y="135426"/>
                      <a:pt x="914365" y="112642"/>
                      <a:pt x="914365" y="84536"/>
                    </a:cubicBezTo>
                    <a:cubicBezTo>
                      <a:pt x="914365" y="56430"/>
                      <a:pt x="937171" y="33646"/>
                      <a:pt x="965304" y="33646"/>
                    </a:cubicBezTo>
                    <a:close/>
                    <a:moveTo>
                      <a:pt x="124610" y="0"/>
                    </a:moveTo>
                    <a:cubicBezTo>
                      <a:pt x="193430" y="0"/>
                      <a:pt x="249220" y="55925"/>
                      <a:pt x="249220" y="124911"/>
                    </a:cubicBezTo>
                    <a:cubicBezTo>
                      <a:pt x="249220" y="193897"/>
                      <a:pt x="193430" y="249822"/>
                      <a:pt x="124610" y="249822"/>
                    </a:cubicBezTo>
                    <a:cubicBezTo>
                      <a:pt x="55790" y="249822"/>
                      <a:pt x="0" y="193897"/>
                      <a:pt x="0" y="124911"/>
                    </a:cubicBezTo>
                    <a:cubicBezTo>
                      <a:pt x="0" y="55925"/>
                      <a:pt x="55790" y="0"/>
                      <a:pt x="12461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94" name="bcgIcons_Venture Capital ">
            <a:extLst>
              <a:ext uri="{FF2B5EF4-FFF2-40B4-BE49-F238E27FC236}">
                <a16:creationId xmlns:a16="http://schemas.microsoft.com/office/drawing/2014/main" id="{9C7DACAC-5308-48D9-8827-1049288C7862}"/>
              </a:ext>
            </a:extLst>
          </p:cNvPr>
          <p:cNvGrpSpPr>
            <a:grpSpLocks noChangeAspect="1"/>
          </p:cNvGrpSpPr>
          <p:nvPr/>
        </p:nvGrpSpPr>
        <p:grpSpPr>
          <a:xfrm>
            <a:off x="3696387" y="5126424"/>
            <a:ext cx="394021" cy="394021"/>
            <a:chOff x="5273675" y="2606675"/>
            <a:chExt cx="1644650" cy="1644650"/>
          </a:xfrm>
        </p:grpSpPr>
        <p:sp>
          <p:nvSpPr>
            <p:cNvPr id="95" name="AutoShape 3">
              <a:extLst>
                <a:ext uri="{FF2B5EF4-FFF2-40B4-BE49-F238E27FC236}">
                  <a16:creationId xmlns:a16="http://schemas.microsoft.com/office/drawing/2014/main" id="{7992DA91-07A6-47E1-B5BD-441F85742829}"/>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6" name="Group 95">
              <a:extLst>
                <a:ext uri="{FF2B5EF4-FFF2-40B4-BE49-F238E27FC236}">
                  <a16:creationId xmlns:a16="http://schemas.microsoft.com/office/drawing/2014/main" id="{15D6C756-6A45-4E92-95A4-DF9FAF791612}"/>
                </a:ext>
              </a:extLst>
            </p:cNvPr>
            <p:cNvGrpSpPr/>
            <p:nvPr/>
          </p:nvGrpSpPr>
          <p:grpSpPr>
            <a:xfrm>
              <a:off x="5602288" y="2870200"/>
              <a:ext cx="984250" cy="1104900"/>
              <a:chOff x="5602288" y="2870200"/>
              <a:chExt cx="984250" cy="1104900"/>
            </a:xfrm>
          </p:grpSpPr>
          <p:sp>
            <p:nvSpPr>
              <p:cNvPr id="97" name="Freeform 10">
                <a:extLst>
                  <a:ext uri="{FF2B5EF4-FFF2-40B4-BE49-F238E27FC236}">
                    <a16:creationId xmlns:a16="http://schemas.microsoft.com/office/drawing/2014/main" id="{D2348936-9A12-4F3C-8EA7-DC5509CBC790}"/>
                  </a:ext>
                </a:extLst>
              </p:cNvPr>
              <p:cNvSpPr>
                <a:spLocks/>
              </p:cNvSpPr>
              <p:nvPr/>
            </p:nvSpPr>
            <p:spPr bwMode="auto">
              <a:xfrm>
                <a:off x="5668395" y="2943225"/>
                <a:ext cx="851129" cy="969963"/>
              </a:xfrm>
              <a:custGeom>
                <a:avLst/>
                <a:gdLst>
                  <a:gd name="connsiteX0" fmla="*/ 399103 w 851129"/>
                  <a:gd name="connsiteY0" fmla="*/ 419100 h 969963"/>
                  <a:gd name="connsiteX1" fmla="*/ 399103 w 851129"/>
                  <a:gd name="connsiteY1" fmla="*/ 457745 h 969963"/>
                  <a:gd name="connsiteX2" fmla="*/ 351016 w 851129"/>
                  <a:gd name="connsiteY2" fmla="*/ 486372 h 969963"/>
                  <a:gd name="connsiteX3" fmla="*/ 333073 w 851129"/>
                  <a:gd name="connsiteY3" fmla="*/ 537183 h 969963"/>
                  <a:gd name="connsiteX4" fmla="*/ 339532 w 851129"/>
                  <a:gd name="connsiteY4" fmla="*/ 572966 h 969963"/>
                  <a:gd name="connsiteX5" fmla="*/ 358911 w 851129"/>
                  <a:gd name="connsiteY5" fmla="*/ 600160 h 969963"/>
                  <a:gd name="connsiteX6" fmla="*/ 405563 w 851129"/>
                  <a:gd name="connsiteY6" fmla="*/ 628786 h 969963"/>
                  <a:gd name="connsiteX7" fmla="*/ 452215 w 851129"/>
                  <a:gd name="connsiteY7" fmla="*/ 660991 h 969963"/>
                  <a:gd name="connsiteX8" fmla="*/ 465133 w 851129"/>
                  <a:gd name="connsiteY8" fmla="*/ 692480 h 969963"/>
                  <a:gd name="connsiteX9" fmla="*/ 416329 w 851129"/>
                  <a:gd name="connsiteY9" fmla="*/ 726115 h 969963"/>
                  <a:gd name="connsiteX10" fmla="*/ 352451 w 851129"/>
                  <a:gd name="connsiteY10" fmla="*/ 703214 h 969963"/>
                  <a:gd name="connsiteX11" fmla="*/ 332355 w 851129"/>
                  <a:gd name="connsiteY11" fmla="*/ 752594 h 969963"/>
                  <a:gd name="connsiteX12" fmla="*/ 399103 w 851129"/>
                  <a:gd name="connsiteY12" fmla="*/ 774064 h 969963"/>
                  <a:gd name="connsiteX13" fmla="*/ 399103 w 851129"/>
                  <a:gd name="connsiteY13" fmla="*/ 819150 h 969963"/>
                  <a:gd name="connsiteX14" fmla="*/ 447908 w 851129"/>
                  <a:gd name="connsiteY14" fmla="*/ 819150 h 969963"/>
                  <a:gd name="connsiteX15" fmla="*/ 447908 w 851129"/>
                  <a:gd name="connsiteY15" fmla="*/ 770486 h 969963"/>
                  <a:gd name="connsiteX16" fmla="*/ 501020 w 851129"/>
                  <a:gd name="connsiteY16" fmla="*/ 740428 h 969963"/>
                  <a:gd name="connsiteX17" fmla="*/ 519680 w 851129"/>
                  <a:gd name="connsiteY17" fmla="*/ 688186 h 969963"/>
                  <a:gd name="connsiteX18" fmla="*/ 512503 w 851129"/>
                  <a:gd name="connsiteY18" fmla="*/ 650256 h 969963"/>
                  <a:gd name="connsiteX19" fmla="*/ 491689 w 851129"/>
                  <a:gd name="connsiteY19" fmla="*/ 620199 h 969963"/>
                  <a:gd name="connsiteX20" fmla="*/ 446473 w 851129"/>
                  <a:gd name="connsiteY20" fmla="*/ 592288 h 969963"/>
                  <a:gd name="connsiteX21" fmla="*/ 387620 w 851129"/>
                  <a:gd name="connsiteY21" fmla="*/ 537183 h 969963"/>
                  <a:gd name="connsiteX22" fmla="*/ 397668 w 851129"/>
                  <a:gd name="connsiteY22" fmla="*/ 510704 h 969963"/>
                  <a:gd name="connsiteX23" fmla="*/ 427094 w 851129"/>
                  <a:gd name="connsiteY23" fmla="*/ 500685 h 969963"/>
                  <a:gd name="connsiteX24" fmla="*/ 488818 w 851129"/>
                  <a:gd name="connsiteY24" fmla="*/ 521439 h 969963"/>
                  <a:gd name="connsiteX25" fmla="*/ 505326 w 851129"/>
                  <a:gd name="connsiteY25" fmla="*/ 474205 h 969963"/>
                  <a:gd name="connsiteX26" fmla="*/ 447190 w 851129"/>
                  <a:gd name="connsiteY26" fmla="*/ 455598 h 969963"/>
                  <a:gd name="connsiteX27" fmla="*/ 447908 w 851129"/>
                  <a:gd name="connsiteY27" fmla="*/ 419100 h 969963"/>
                  <a:gd name="connsiteX28" fmla="*/ 399103 w 851129"/>
                  <a:gd name="connsiteY28" fmla="*/ 419100 h 969963"/>
                  <a:gd name="connsiteX29" fmla="*/ 357759 w 851129"/>
                  <a:gd name="connsiteY29" fmla="*/ 201613 h 969963"/>
                  <a:gd name="connsiteX30" fmla="*/ 494117 w 851129"/>
                  <a:gd name="connsiteY30" fmla="*/ 201613 h 969963"/>
                  <a:gd name="connsiteX31" fmla="*/ 524101 w 851129"/>
                  <a:gd name="connsiteY31" fmla="*/ 248699 h 969963"/>
                  <a:gd name="connsiteX32" fmla="*/ 702580 w 851129"/>
                  <a:gd name="connsiteY32" fmla="*/ 440608 h 969963"/>
                  <a:gd name="connsiteX33" fmla="*/ 851074 w 851129"/>
                  <a:gd name="connsiteY33" fmla="*/ 777341 h 969963"/>
                  <a:gd name="connsiteX34" fmla="*/ 851074 w 851129"/>
                  <a:gd name="connsiteY34" fmla="*/ 778054 h 969963"/>
                  <a:gd name="connsiteX35" fmla="*/ 851074 w 851129"/>
                  <a:gd name="connsiteY35" fmla="*/ 779481 h 969963"/>
                  <a:gd name="connsiteX36" fmla="*/ 851074 w 851129"/>
                  <a:gd name="connsiteY36" fmla="*/ 780194 h 969963"/>
                  <a:gd name="connsiteX37" fmla="*/ 804669 w 851129"/>
                  <a:gd name="connsiteY37" fmla="*/ 914317 h 969963"/>
                  <a:gd name="connsiteX38" fmla="*/ 641183 w 851129"/>
                  <a:gd name="connsiteY38" fmla="*/ 969963 h 969963"/>
                  <a:gd name="connsiteX39" fmla="*/ 210693 w 851129"/>
                  <a:gd name="connsiteY39" fmla="*/ 969963 h 969963"/>
                  <a:gd name="connsiteX40" fmla="*/ 46493 w 851129"/>
                  <a:gd name="connsiteY40" fmla="*/ 914317 h 969963"/>
                  <a:gd name="connsiteX41" fmla="*/ 89 w 851129"/>
                  <a:gd name="connsiteY41" fmla="*/ 780194 h 969963"/>
                  <a:gd name="connsiteX42" fmla="*/ 89 w 851129"/>
                  <a:gd name="connsiteY42" fmla="*/ 779481 h 969963"/>
                  <a:gd name="connsiteX43" fmla="*/ 89 w 851129"/>
                  <a:gd name="connsiteY43" fmla="*/ 778054 h 969963"/>
                  <a:gd name="connsiteX44" fmla="*/ 89 w 851129"/>
                  <a:gd name="connsiteY44" fmla="*/ 777341 h 969963"/>
                  <a:gd name="connsiteX45" fmla="*/ 149297 w 851129"/>
                  <a:gd name="connsiteY45" fmla="*/ 440608 h 969963"/>
                  <a:gd name="connsiteX46" fmla="*/ 327775 w 851129"/>
                  <a:gd name="connsiteY46" fmla="*/ 248699 h 969963"/>
                  <a:gd name="connsiteX47" fmla="*/ 357759 w 851129"/>
                  <a:gd name="connsiteY47" fmla="*/ 201613 h 969963"/>
                  <a:gd name="connsiteX48" fmla="*/ 426375 w 851129"/>
                  <a:gd name="connsiteY48" fmla="*/ 0 h 969963"/>
                  <a:gd name="connsiteX49" fmla="*/ 541196 w 851129"/>
                  <a:gd name="connsiteY49" fmla="*/ 22721 h 969963"/>
                  <a:gd name="connsiteX50" fmla="*/ 591118 w 851129"/>
                  <a:gd name="connsiteY50" fmla="*/ 48282 h 969963"/>
                  <a:gd name="connsiteX51" fmla="*/ 526932 w 851129"/>
                  <a:gd name="connsiteY51" fmla="*/ 113604 h 969963"/>
                  <a:gd name="connsiteX52" fmla="*/ 494840 w 851129"/>
                  <a:gd name="connsiteY52" fmla="*/ 168275 h 969963"/>
                  <a:gd name="connsiteX53" fmla="*/ 357910 w 851129"/>
                  <a:gd name="connsiteY53" fmla="*/ 168275 h 969963"/>
                  <a:gd name="connsiteX54" fmla="*/ 325817 w 851129"/>
                  <a:gd name="connsiteY54" fmla="*/ 113604 h 969963"/>
                  <a:gd name="connsiteX55" fmla="*/ 260918 w 851129"/>
                  <a:gd name="connsiteY55" fmla="*/ 48282 h 969963"/>
                  <a:gd name="connsiteX56" fmla="*/ 311554 w 851129"/>
                  <a:gd name="connsiteY56" fmla="*/ 22721 h 969963"/>
                  <a:gd name="connsiteX57" fmla="*/ 426375 w 851129"/>
                  <a:gd name="connsiteY57" fmla="*/ 0 h 96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851129" h="969963">
                    <a:moveTo>
                      <a:pt x="399103" y="419100"/>
                    </a:moveTo>
                    <a:cubicBezTo>
                      <a:pt x="399103" y="419100"/>
                      <a:pt x="399103" y="419100"/>
                      <a:pt x="399103" y="457745"/>
                    </a:cubicBezTo>
                    <a:cubicBezTo>
                      <a:pt x="378289" y="462755"/>
                      <a:pt x="362500" y="472058"/>
                      <a:pt x="351016" y="486372"/>
                    </a:cubicBezTo>
                    <a:cubicBezTo>
                      <a:pt x="338815" y="501400"/>
                      <a:pt x="333073" y="517860"/>
                      <a:pt x="333073" y="537183"/>
                    </a:cubicBezTo>
                    <a:cubicBezTo>
                      <a:pt x="333073" y="550065"/>
                      <a:pt x="335226" y="562231"/>
                      <a:pt x="339532" y="572966"/>
                    </a:cubicBezTo>
                    <a:cubicBezTo>
                      <a:pt x="343839" y="582985"/>
                      <a:pt x="350298" y="592288"/>
                      <a:pt x="358911" y="600160"/>
                    </a:cubicBezTo>
                    <a:cubicBezTo>
                      <a:pt x="366088" y="607317"/>
                      <a:pt x="381878" y="617336"/>
                      <a:pt x="405563" y="628786"/>
                    </a:cubicBezTo>
                    <a:cubicBezTo>
                      <a:pt x="428530" y="640237"/>
                      <a:pt x="444320" y="650972"/>
                      <a:pt x="452215" y="660991"/>
                    </a:cubicBezTo>
                    <a:cubicBezTo>
                      <a:pt x="460827" y="671010"/>
                      <a:pt x="465133" y="681029"/>
                      <a:pt x="465133" y="692480"/>
                    </a:cubicBezTo>
                    <a:cubicBezTo>
                      <a:pt x="465133" y="714665"/>
                      <a:pt x="448626" y="726115"/>
                      <a:pt x="416329" y="726115"/>
                    </a:cubicBezTo>
                    <a:cubicBezTo>
                      <a:pt x="394797" y="726115"/>
                      <a:pt x="373265" y="718243"/>
                      <a:pt x="352451" y="703214"/>
                    </a:cubicBezTo>
                    <a:cubicBezTo>
                      <a:pt x="352451" y="703214"/>
                      <a:pt x="352451" y="703214"/>
                      <a:pt x="332355" y="752594"/>
                    </a:cubicBezTo>
                    <a:cubicBezTo>
                      <a:pt x="352451" y="765476"/>
                      <a:pt x="373983" y="772633"/>
                      <a:pt x="399103" y="774064"/>
                    </a:cubicBezTo>
                    <a:cubicBezTo>
                      <a:pt x="399103" y="774064"/>
                      <a:pt x="399103" y="774064"/>
                      <a:pt x="399103" y="819150"/>
                    </a:cubicBezTo>
                    <a:cubicBezTo>
                      <a:pt x="399103" y="819150"/>
                      <a:pt x="399103" y="819150"/>
                      <a:pt x="447908" y="819150"/>
                    </a:cubicBezTo>
                    <a:cubicBezTo>
                      <a:pt x="447908" y="819150"/>
                      <a:pt x="447908" y="819150"/>
                      <a:pt x="447908" y="770486"/>
                    </a:cubicBezTo>
                    <a:cubicBezTo>
                      <a:pt x="470158" y="764761"/>
                      <a:pt x="488101" y="754741"/>
                      <a:pt x="501020" y="740428"/>
                    </a:cubicBezTo>
                    <a:cubicBezTo>
                      <a:pt x="513221" y="725400"/>
                      <a:pt x="519680" y="708224"/>
                      <a:pt x="519680" y="688186"/>
                    </a:cubicBezTo>
                    <a:cubicBezTo>
                      <a:pt x="519680" y="674588"/>
                      <a:pt x="517527" y="661706"/>
                      <a:pt x="512503" y="650256"/>
                    </a:cubicBezTo>
                    <a:cubicBezTo>
                      <a:pt x="508197" y="638806"/>
                      <a:pt x="501020" y="628786"/>
                      <a:pt x="491689" y="620199"/>
                    </a:cubicBezTo>
                    <a:cubicBezTo>
                      <a:pt x="482359" y="611611"/>
                      <a:pt x="467287" y="602307"/>
                      <a:pt x="446473" y="592288"/>
                    </a:cubicBezTo>
                    <a:cubicBezTo>
                      <a:pt x="406998" y="572966"/>
                      <a:pt x="387620" y="554359"/>
                      <a:pt x="387620" y="537183"/>
                    </a:cubicBezTo>
                    <a:cubicBezTo>
                      <a:pt x="387620" y="526448"/>
                      <a:pt x="390491" y="517860"/>
                      <a:pt x="397668" y="510704"/>
                    </a:cubicBezTo>
                    <a:cubicBezTo>
                      <a:pt x="404845" y="504263"/>
                      <a:pt x="414893" y="500685"/>
                      <a:pt x="427094" y="500685"/>
                    </a:cubicBezTo>
                    <a:cubicBezTo>
                      <a:pt x="448626" y="500685"/>
                      <a:pt x="469440" y="507841"/>
                      <a:pt x="488818" y="521439"/>
                    </a:cubicBezTo>
                    <a:cubicBezTo>
                      <a:pt x="488818" y="521439"/>
                      <a:pt x="488818" y="521439"/>
                      <a:pt x="505326" y="474205"/>
                    </a:cubicBezTo>
                    <a:cubicBezTo>
                      <a:pt x="493125" y="463471"/>
                      <a:pt x="473746" y="457745"/>
                      <a:pt x="447190" y="455598"/>
                    </a:cubicBezTo>
                    <a:cubicBezTo>
                      <a:pt x="447190" y="455598"/>
                      <a:pt x="447190" y="455598"/>
                      <a:pt x="447908" y="419100"/>
                    </a:cubicBezTo>
                    <a:cubicBezTo>
                      <a:pt x="447908" y="419100"/>
                      <a:pt x="447908" y="419100"/>
                      <a:pt x="399103" y="419100"/>
                    </a:cubicBezTo>
                    <a:close/>
                    <a:moveTo>
                      <a:pt x="357759" y="201613"/>
                    </a:moveTo>
                    <a:cubicBezTo>
                      <a:pt x="357759" y="201613"/>
                      <a:pt x="357759" y="201613"/>
                      <a:pt x="494117" y="201613"/>
                    </a:cubicBezTo>
                    <a:cubicBezTo>
                      <a:pt x="497686" y="215881"/>
                      <a:pt x="505540" y="233003"/>
                      <a:pt x="524101" y="248699"/>
                    </a:cubicBezTo>
                    <a:cubicBezTo>
                      <a:pt x="525529" y="249412"/>
                      <a:pt x="613340" y="325034"/>
                      <a:pt x="702580" y="440608"/>
                    </a:cubicBezTo>
                    <a:cubicBezTo>
                      <a:pt x="800386" y="566169"/>
                      <a:pt x="851074" y="683170"/>
                      <a:pt x="851074" y="777341"/>
                    </a:cubicBezTo>
                    <a:cubicBezTo>
                      <a:pt x="851074" y="777341"/>
                      <a:pt x="851074" y="777341"/>
                      <a:pt x="851074" y="778054"/>
                    </a:cubicBezTo>
                    <a:cubicBezTo>
                      <a:pt x="851074" y="778767"/>
                      <a:pt x="851074" y="778767"/>
                      <a:pt x="851074" y="779481"/>
                    </a:cubicBezTo>
                    <a:cubicBezTo>
                      <a:pt x="851074" y="779481"/>
                      <a:pt x="851074" y="779481"/>
                      <a:pt x="851074" y="780194"/>
                    </a:cubicBezTo>
                    <a:cubicBezTo>
                      <a:pt x="851074" y="780908"/>
                      <a:pt x="854643" y="860097"/>
                      <a:pt x="804669" y="914317"/>
                    </a:cubicBezTo>
                    <a:cubicBezTo>
                      <a:pt x="769688" y="951414"/>
                      <a:pt x="714716" y="969963"/>
                      <a:pt x="641183" y="969963"/>
                    </a:cubicBezTo>
                    <a:cubicBezTo>
                      <a:pt x="641183" y="969963"/>
                      <a:pt x="641183" y="969963"/>
                      <a:pt x="210693" y="969963"/>
                    </a:cubicBezTo>
                    <a:cubicBezTo>
                      <a:pt x="137160" y="969963"/>
                      <a:pt x="82189" y="950701"/>
                      <a:pt x="46493" y="914317"/>
                    </a:cubicBezTo>
                    <a:cubicBezTo>
                      <a:pt x="-4195" y="859384"/>
                      <a:pt x="89" y="780908"/>
                      <a:pt x="89" y="780194"/>
                    </a:cubicBezTo>
                    <a:cubicBezTo>
                      <a:pt x="89" y="780194"/>
                      <a:pt x="89" y="780194"/>
                      <a:pt x="89" y="779481"/>
                    </a:cubicBezTo>
                    <a:cubicBezTo>
                      <a:pt x="89" y="778767"/>
                      <a:pt x="89" y="778767"/>
                      <a:pt x="89" y="778054"/>
                    </a:cubicBezTo>
                    <a:cubicBezTo>
                      <a:pt x="89" y="778054"/>
                      <a:pt x="89" y="778054"/>
                      <a:pt x="89" y="777341"/>
                    </a:cubicBezTo>
                    <a:cubicBezTo>
                      <a:pt x="89" y="683170"/>
                      <a:pt x="51491" y="566169"/>
                      <a:pt x="149297" y="440608"/>
                    </a:cubicBezTo>
                    <a:cubicBezTo>
                      <a:pt x="237822" y="325034"/>
                      <a:pt x="326347" y="249412"/>
                      <a:pt x="327775" y="248699"/>
                    </a:cubicBezTo>
                    <a:cubicBezTo>
                      <a:pt x="346337" y="233003"/>
                      <a:pt x="354190" y="215881"/>
                      <a:pt x="357759" y="201613"/>
                    </a:cubicBezTo>
                    <a:close/>
                    <a:moveTo>
                      <a:pt x="426375" y="0"/>
                    </a:moveTo>
                    <a:cubicBezTo>
                      <a:pt x="466313" y="0"/>
                      <a:pt x="504824" y="7810"/>
                      <a:pt x="541196" y="22721"/>
                    </a:cubicBezTo>
                    <a:cubicBezTo>
                      <a:pt x="558312" y="30531"/>
                      <a:pt x="576855" y="39761"/>
                      <a:pt x="591118" y="48282"/>
                    </a:cubicBezTo>
                    <a:cubicBezTo>
                      <a:pt x="574715" y="66742"/>
                      <a:pt x="551180" y="91593"/>
                      <a:pt x="526932" y="113604"/>
                    </a:cubicBezTo>
                    <a:cubicBezTo>
                      <a:pt x="520514" y="119994"/>
                      <a:pt x="500545" y="139164"/>
                      <a:pt x="494840" y="168275"/>
                    </a:cubicBezTo>
                    <a:cubicBezTo>
                      <a:pt x="494840" y="168275"/>
                      <a:pt x="494840" y="168275"/>
                      <a:pt x="357910" y="168275"/>
                    </a:cubicBezTo>
                    <a:cubicBezTo>
                      <a:pt x="352205" y="139164"/>
                      <a:pt x="332236" y="119994"/>
                      <a:pt x="325817" y="113604"/>
                    </a:cubicBezTo>
                    <a:cubicBezTo>
                      <a:pt x="301569" y="91593"/>
                      <a:pt x="277321" y="66742"/>
                      <a:pt x="260918" y="48282"/>
                    </a:cubicBezTo>
                    <a:cubicBezTo>
                      <a:pt x="275182" y="39761"/>
                      <a:pt x="294437" y="30531"/>
                      <a:pt x="311554" y="22721"/>
                    </a:cubicBezTo>
                    <a:cubicBezTo>
                      <a:pt x="347926" y="7810"/>
                      <a:pt x="386437" y="0"/>
                      <a:pt x="42637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98" name="Freeform 8">
                <a:extLst>
                  <a:ext uri="{FF2B5EF4-FFF2-40B4-BE49-F238E27FC236}">
                    <a16:creationId xmlns:a16="http://schemas.microsoft.com/office/drawing/2014/main" id="{AD6D2A7A-53A4-488B-BCCD-A1CE8423FECC}"/>
                  </a:ext>
                </a:extLst>
              </p:cNvPr>
              <p:cNvSpPr>
                <a:spLocks noEditPoints="1"/>
              </p:cNvSpPr>
              <p:nvPr/>
            </p:nvSpPr>
            <p:spPr bwMode="auto">
              <a:xfrm>
                <a:off x="5602288" y="2870200"/>
                <a:ext cx="984250" cy="1104900"/>
              </a:xfrm>
              <a:custGeom>
                <a:avLst/>
                <a:gdLst>
                  <a:gd name="T0" fmla="*/ 885 w 1380"/>
                  <a:gd name="T1" fmla="*/ 381 h 1549"/>
                  <a:gd name="T2" fmla="*/ 890 w 1380"/>
                  <a:gd name="T3" fmla="*/ 326 h 1549"/>
                  <a:gd name="T4" fmla="*/ 886 w 1380"/>
                  <a:gd name="T5" fmla="*/ 52 h 1549"/>
                  <a:gd name="T6" fmla="*/ 352 w 1380"/>
                  <a:gd name="T7" fmla="*/ 165 h 1549"/>
                  <a:gd name="T8" fmla="*/ 509 w 1380"/>
                  <a:gd name="T9" fmla="*/ 359 h 1549"/>
                  <a:gd name="T10" fmla="*/ 6 w 1380"/>
                  <a:gd name="T11" fmla="*/ 1189 h 1549"/>
                  <a:gd name="T12" fmla="*/ 1286 w 1380"/>
                  <a:gd name="T13" fmla="*/ 1442 h 1549"/>
                  <a:gd name="T14" fmla="*/ 1261 w 1380"/>
                  <a:gd name="T15" fmla="*/ 1403 h 1549"/>
                  <a:gd name="T16" fmla="*/ 1247 w 1380"/>
                  <a:gd name="T17" fmla="*/ 1418 h 1549"/>
                  <a:gd name="T18" fmla="*/ 1223 w 1380"/>
                  <a:gd name="T19" fmla="*/ 1440 h 1549"/>
                  <a:gd name="T20" fmla="*/ 1196 w 1380"/>
                  <a:gd name="T21" fmla="*/ 1458 h 1549"/>
                  <a:gd name="T22" fmla="*/ 1166 w 1380"/>
                  <a:gd name="T23" fmla="*/ 1473 h 1549"/>
                  <a:gd name="T24" fmla="*/ 1134 w 1380"/>
                  <a:gd name="T25" fmla="*/ 1485 h 1549"/>
                  <a:gd name="T26" fmla="*/ 1099 w 1380"/>
                  <a:gd name="T27" fmla="*/ 1495 h 1549"/>
                  <a:gd name="T28" fmla="*/ 1062 w 1380"/>
                  <a:gd name="T29" fmla="*/ 1501 h 1549"/>
                  <a:gd name="T30" fmla="*/ 1020 w 1380"/>
                  <a:gd name="T31" fmla="*/ 1505 h 1549"/>
                  <a:gd name="T32" fmla="*/ 367 w 1380"/>
                  <a:gd name="T33" fmla="*/ 1505 h 1549"/>
                  <a:gd name="T34" fmla="*/ 327 w 1380"/>
                  <a:gd name="T35" fmla="*/ 1502 h 1549"/>
                  <a:gd name="T36" fmla="*/ 289 w 1380"/>
                  <a:gd name="T37" fmla="*/ 1496 h 1549"/>
                  <a:gd name="T38" fmla="*/ 253 w 1380"/>
                  <a:gd name="T39" fmla="*/ 1487 h 1549"/>
                  <a:gd name="T40" fmla="*/ 221 w 1380"/>
                  <a:gd name="T41" fmla="*/ 1476 h 1549"/>
                  <a:gd name="T42" fmla="*/ 191 w 1380"/>
                  <a:gd name="T43" fmla="*/ 1461 h 1549"/>
                  <a:gd name="T44" fmla="*/ 163 w 1380"/>
                  <a:gd name="T45" fmla="*/ 1443 h 1549"/>
                  <a:gd name="T46" fmla="*/ 139 w 1380"/>
                  <a:gd name="T47" fmla="*/ 1423 h 1549"/>
                  <a:gd name="T48" fmla="*/ 123 w 1380"/>
                  <a:gd name="T49" fmla="*/ 1406 h 1549"/>
                  <a:gd name="T50" fmla="*/ 50 w 1380"/>
                  <a:gd name="T51" fmla="*/ 1190 h 1549"/>
                  <a:gd name="T52" fmla="*/ 52 w 1380"/>
                  <a:gd name="T53" fmla="*/ 1147 h 1549"/>
                  <a:gd name="T54" fmla="*/ 340 w 1380"/>
                  <a:gd name="T55" fmla="*/ 601 h 1549"/>
                  <a:gd name="T56" fmla="*/ 530 w 1380"/>
                  <a:gd name="T57" fmla="*/ 409 h 1549"/>
                  <a:gd name="T58" fmla="*/ 540 w 1380"/>
                  <a:gd name="T59" fmla="*/ 398 h 1549"/>
                  <a:gd name="T60" fmla="*/ 547 w 1380"/>
                  <a:gd name="T61" fmla="*/ 385 h 1549"/>
                  <a:gd name="T62" fmla="*/ 551 w 1380"/>
                  <a:gd name="T63" fmla="*/ 373 h 1549"/>
                  <a:gd name="T64" fmla="*/ 553 w 1380"/>
                  <a:gd name="T65" fmla="*/ 360 h 1549"/>
                  <a:gd name="T66" fmla="*/ 521 w 1380"/>
                  <a:gd name="T67" fmla="*/ 294 h 1549"/>
                  <a:gd name="T68" fmla="*/ 519 w 1380"/>
                  <a:gd name="T69" fmla="*/ 293 h 1549"/>
                  <a:gd name="T70" fmla="*/ 503 w 1380"/>
                  <a:gd name="T71" fmla="*/ 277 h 1549"/>
                  <a:gd name="T72" fmla="*/ 482 w 1380"/>
                  <a:gd name="T73" fmla="*/ 256 h 1549"/>
                  <a:gd name="T74" fmla="*/ 409 w 1380"/>
                  <a:gd name="T75" fmla="*/ 178 h 1549"/>
                  <a:gd name="T76" fmla="*/ 447 w 1380"/>
                  <a:gd name="T77" fmla="*/ 125 h 1549"/>
                  <a:gd name="T78" fmla="*/ 527 w 1380"/>
                  <a:gd name="T79" fmla="*/ 87 h 1549"/>
                  <a:gd name="T80" fmla="*/ 935 w 1380"/>
                  <a:gd name="T81" fmla="*/ 126 h 1549"/>
                  <a:gd name="T82" fmla="*/ 972 w 1380"/>
                  <a:gd name="T83" fmla="*/ 178 h 1549"/>
                  <a:gd name="T84" fmla="*/ 955 w 1380"/>
                  <a:gd name="T85" fmla="*/ 198 h 1549"/>
                  <a:gd name="T86" fmla="*/ 891 w 1380"/>
                  <a:gd name="T87" fmla="*/ 265 h 1549"/>
                  <a:gd name="T88" fmla="*/ 870 w 1380"/>
                  <a:gd name="T89" fmla="*/ 284 h 1549"/>
                  <a:gd name="T90" fmla="*/ 861 w 1380"/>
                  <a:gd name="T91" fmla="*/ 293 h 1549"/>
                  <a:gd name="T92" fmla="*/ 828 w 1380"/>
                  <a:gd name="T93" fmla="*/ 360 h 1549"/>
                  <a:gd name="T94" fmla="*/ 830 w 1380"/>
                  <a:gd name="T95" fmla="*/ 373 h 1549"/>
                  <a:gd name="T96" fmla="*/ 834 w 1380"/>
                  <a:gd name="T97" fmla="*/ 385 h 1549"/>
                  <a:gd name="T98" fmla="*/ 841 w 1380"/>
                  <a:gd name="T99" fmla="*/ 398 h 1549"/>
                  <a:gd name="T100" fmla="*/ 851 w 1380"/>
                  <a:gd name="T101" fmla="*/ 409 h 1549"/>
                  <a:gd name="T102" fmla="*/ 1046 w 1380"/>
                  <a:gd name="T103" fmla="*/ 607 h 1549"/>
                  <a:gd name="T104" fmla="*/ 1330 w 1380"/>
                  <a:gd name="T105" fmla="*/ 1167 h 1549"/>
                  <a:gd name="T106" fmla="*/ 1331 w 1380"/>
                  <a:gd name="T107" fmla="*/ 1192 h 1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80" h="1549">
                    <a:moveTo>
                      <a:pt x="1375" y="1190"/>
                    </a:moveTo>
                    <a:cubicBezTo>
                      <a:pt x="1375" y="1189"/>
                      <a:pt x="1375" y="1189"/>
                      <a:pt x="1375" y="1189"/>
                    </a:cubicBezTo>
                    <a:cubicBezTo>
                      <a:pt x="1375" y="1036"/>
                      <a:pt x="1298" y="859"/>
                      <a:pt x="1148" y="663"/>
                    </a:cubicBezTo>
                    <a:cubicBezTo>
                      <a:pt x="1037" y="519"/>
                      <a:pt x="918" y="408"/>
                      <a:pt x="885" y="381"/>
                    </a:cubicBezTo>
                    <a:cubicBezTo>
                      <a:pt x="873" y="371"/>
                      <a:pt x="872" y="363"/>
                      <a:pt x="872" y="360"/>
                    </a:cubicBezTo>
                    <a:cubicBezTo>
                      <a:pt x="872" y="360"/>
                      <a:pt x="872" y="360"/>
                      <a:pt x="872" y="360"/>
                    </a:cubicBezTo>
                    <a:cubicBezTo>
                      <a:pt x="872" y="360"/>
                      <a:pt x="872" y="360"/>
                      <a:pt x="872" y="359"/>
                    </a:cubicBezTo>
                    <a:cubicBezTo>
                      <a:pt x="872" y="346"/>
                      <a:pt x="885" y="330"/>
                      <a:pt x="890" y="326"/>
                    </a:cubicBezTo>
                    <a:cubicBezTo>
                      <a:pt x="891" y="326"/>
                      <a:pt x="891" y="326"/>
                      <a:pt x="891" y="326"/>
                    </a:cubicBezTo>
                    <a:cubicBezTo>
                      <a:pt x="940" y="280"/>
                      <a:pt x="1024" y="197"/>
                      <a:pt x="1029" y="165"/>
                    </a:cubicBezTo>
                    <a:cubicBezTo>
                      <a:pt x="1033" y="141"/>
                      <a:pt x="1012" y="118"/>
                      <a:pt x="955" y="87"/>
                    </a:cubicBezTo>
                    <a:cubicBezTo>
                      <a:pt x="921" y="68"/>
                      <a:pt x="887" y="53"/>
                      <a:pt x="886" y="52"/>
                    </a:cubicBezTo>
                    <a:cubicBezTo>
                      <a:pt x="885" y="52"/>
                      <a:pt x="885" y="52"/>
                      <a:pt x="885" y="52"/>
                    </a:cubicBezTo>
                    <a:cubicBezTo>
                      <a:pt x="761" y="0"/>
                      <a:pt x="619" y="0"/>
                      <a:pt x="495" y="52"/>
                    </a:cubicBezTo>
                    <a:cubicBezTo>
                      <a:pt x="494" y="53"/>
                      <a:pt x="460" y="68"/>
                      <a:pt x="426" y="87"/>
                    </a:cubicBezTo>
                    <a:cubicBezTo>
                      <a:pt x="369" y="118"/>
                      <a:pt x="348" y="141"/>
                      <a:pt x="352" y="165"/>
                    </a:cubicBezTo>
                    <a:cubicBezTo>
                      <a:pt x="357" y="197"/>
                      <a:pt x="441" y="280"/>
                      <a:pt x="490" y="326"/>
                    </a:cubicBezTo>
                    <a:cubicBezTo>
                      <a:pt x="491" y="326"/>
                      <a:pt x="491" y="326"/>
                      <a:pt x="491" y="326"/>
                    </a:cubicBezTo>
                    <a:cubicBezTo>
                      <a:pt x="495" y="330"/>
                      <a:pt x="509" y="345"/>
                      <a:pt x="509" y="359"/>
                    </a:cubicBezTo>
                    <a:cubicBezTo>
                      <a:pt x="509" y="359"/>
                      <a:pt x="509" y="359"/>
                      <a:pt x="509" y="359"/>
                    </a:cubicBezTo>
                    <a:cubicBezTo>
                      <a:pt x="509" y="360"/>
                      <a:pt x="509" y="360"/>
                      <a:pt x="509" y="360"/>
                    </a:cubicBezTo>
                    <a:cubicBezTo>
                      <a:pt x="509" y="363"/>
                      <a:pt x="508" y="371"/>
                      <a:pt x="496" y="381"/>
                    </a:cubicBezTo>
                    <a:cubicBezTo>
                      <a:pt x="463" y="408"/>
                      <a:pt x="344" y="519"/>
                      <a:pt x="233" y="663"/>
                    </a:cubicBezTo>
                    <a:cubicBezTo>
                      <a:pt x="83" y="859"/>
                      <a:pt x="6" y="1036"/>
                      <a:pt x="6" y="1189"/>
                    </a:cubicBezTo>
                    <a:cubicBezTo>
                      <a:pt x="5" y="1202"/>
                      <a:pt x="0" y="1339"/>
                      <a:pt x="95" y="1442"/>
                    </a:cubicBezTo>
                    <a:cubicBezTo>
                      <a:pt x="162" y="1513"/>
                      <a:pt x="260" y="1549"/>
                      <a:pt x="389" y="1549"/>
                    </a:cubicBezTo>
                    <a:cubicBezTo>
                      <a:pt x="992" y="1549"/>
                      <a:pt x="992" y="1549"/>
                      <a:pt x="992" y="1549"/>
                    </a:cubicBezTo>
                    <a:cubicBezTo>
                      <a:pt x="1121" y="1549"/>
                      <a:pt x="1219" y="1513"/>
                      <a:pt x="1286" y="1442"/>
                    </a:cubicBezTo>
                    <a:cubicBezTo>
                      <a:pt x="1380" y="1341"/>
                      <a:pt x="1376" y="1206"/>
                      <a:pt x="1375" y="1190"/>
                    </a:cubicBezTo>
                    <a:close/>
                    <a:moveTo>
                      <a:pt x="1268" y="1395"/>
                    </a:moveTo>
                    <a:cubicBezTo>
                      <a:pt x="1267" y="1396"/>
                      <a:pt x="1267" y="1396"/>
                      <a:pt x="1266" y="1397"/>
                    </a:cubicBezTo>
                    <a:cubicBezTo>
                      <a:pt x="1264" y="1399"/>
                      <a:pt x="1263" y="1401"/>
                      <a:pt x="1261" y="1403"/>
                    </a:cubicBezTo>
                    <a:cubicBezTo>
                      <a:pt x="1260" y="1405"/>
                      <a:pt x="1258" y="1406"/>
                      <a:pt x="1257" y="1408"/>
                    </a:cubicBezTo>
                    <a:cubicBezTo>
                      <a:pt x="1256" y="1409"/>
                      <a:pt x="1255" y="1411"/>
                      <a:pt x="1253" y="1412"/>
                    </a:cubicBezTo>
                    <a:cubicBezTo>
                      <a:pt x="1253" y="1412"/>
                      <a:pt x="1253" y="1412"/>
                      <a:pt x="1253" y="1412"/>
                    </a:cubicBezTo>
                    <a:cubicBezTo>
                      <a:pt x="1251" y="1414"/>
                      <a:pt x="1249" y="1416"/>
                      <a:pt x="1247" y="1418"/>
                    </a:cubicBezTo>
                    <a:cubicBezTo>
                      <a:pt x="1245" y="1420"/>
                      <a:pt x="1244" y="1422"/>
                      <a:pt x="1242" y="1423"/>
                    </a:cubicBezTo>
                    <a:cubicBezTo>
                      <a:pt x="1240" y="1425"/>
                      <a:pt x="1237" y="1427"/>
                      <a:pt x="1235" y="1429"/>
                    </a:cubicBezTo>
                    <a:cubicBezTo>
                      <a:pt x="1233" y="1431"/>
                      <a:pt x="1232" y="1432"/>
                      <a:pt x="1230" y="1434"/>
                    </a:cubicBezTo>
                    <a:cubicBezTo>
                      <a:pt x="1228" y="1436"/>
                      <a:pt x="1225" y="1438"/>
                      <a:pt x="1223" y="1440"/>
                    </a:cubicBezTo>
                    <a:cubicBezTo>
                      <a:pt x="1221" y="1441"/>
                      <a:pt x="1219" y="1442"/>
                      <a:pt x="1218" y="1444"/>
                    </a:cubicBezTo>
                    <a:cubicBezTo>
                      <a:pt x="1215" y="1445"/>
                      <a:pt x="1212" y="1447"/>
                      <a:pt x="1210" y="1449"/>
                    </a:cubicBezTo>
                    <a:cubicBezTo>
                      <a:pt x="1208" y="1450"/>
                      <a:pt x="1206" y="1452"/>
                      <a:pt x="1204" y="1453"/>
                    </a:cubicBezTo>
                    <a:cubicBezTo>
                      <a:pt x="1201" y="1454"/>
                      <a:pt x="1199" y="1456"/>
                      <a:pt x="1196" y="1458"/>
                    </a:cubicBezTo>
                    <a:cubicBezTo>
                      <a:pt x="1194" y="1459"/>
                      <a:pt x="1192" y="1460"/>
                      <a:pt x="1190" y="1461"/>
                    </a:cubicBezTo>
                    <a:cubicBezTo>
                      <a:pt x="1187" y="1463"/>
                      <a:pt x="1184" y="1464"/>
                      <a:pt x="1181" y="1466"/>
                    </a:cubicBezTo>
                    <a:cubicBezTo>
                      <a:pt x="1179" y="1467"/>
                      <a:pt x="1178" y="1468"/>
                      <a:pt x="1176" y="1469"/>
                    </a:cubicBezTo>
                    <a:cubicBezTo>
                      <a:pt x="1173" y="1470"/>
                      <a:pt x="1169" y="1472"/>
                      <a:pt x="1166" y="1473"/>
                    </a:cubicBezTo>
                    <a:cubicBezTo>
                      <a:pt x="1164" y="1474"/>
                      <a:pt x="1162" y="1475"/>
                      <a:pt x="1160" y="1476"/>
                    </a:cubicBezTo>
                    <a:cubicBezTo>
                      <a:pt x="1157" y="1477"/>
                      <a:pt x="1154" y="1478"/>
                      <a:pt x="1151" y="1479"/>
                    </a:cubicBezTo>
                    <a:cubicBezTo>
                      <a:pt x="1148" y="1480"/>
                      <a:pt x="1146" y="1481"/>
                      <a:pt x="1144" y="1482"/>
                    </a:cubicBezTo>
                    <a:cubicBezTo>
                      <a:pt x="1141" y="1483"/>
                      <a:pt x="1137" y="1484"/>
                      <a:pt x="1134" y="1485"/>
                    </a:cubicBezTo>
                    <a:cubicBezTo>
                      <a:pt x="1132" y="1486"/>
                      <a:pt x="1130" y="1487"/>
                      <a:pt x="1128" y="1487"/>
                    </a:cubicBezTo>
                    <a:cubicBezTo>
                      <a:pt x="1124" y="1488"/>
                      <a:pt x="1120" y="1489"/>
                      <a:pt x="1117" y="1490"/>
                    </a:cubicBezTo>
                    <a:cubicBezTo>
                      <a:pt x="1115" y="1491"/>
                      <a:pt x="1113" y="1492"/>
                      <a:pt x="1110" y="1492"/>
                    </a:cubicBezTo>
                    <a:cubicBezTo>
                      <a:pt x="1107" y="1493"/>
                      <a:pt x="1103" y="1494"/>
                      <a:pt x="1099" y="1495"/>
                    </a:cubicBezTo>
                    <a:cubicBezTo>
                      <a:pt x="1097" y="1495"/>
                      <a:pt x="1095" y="1496"/>
                      <a:pt x="1092" y="1496"/>
                    </a:cubicBezTo>
                    <a:cubicBezTo>
                      <a:pt x="1089" y="1497"/>
                      <a:pt x="1085" y="1497"/>
                      <a:pt x="1081" y="1498"/>
                    </a:cubicBezTo>
                    <a:cubicBezTo>
                      <a:pt x="1078" y="1499"/>
                      <a:pt x="1076" y="1499"/>
                      <a:pt x="1074" y="1499"/>
                    </a:cubicBezTo>
                    <a:cubicBezTo>
                      <a:pt x="1070" y="1500"/>
                      <a:pt x="1066" y="1500"/>
                      <a:pt x="1062" y="1501"/>
                    </a:cubicBezTo>
                    <a:cubicBezTo>
                      <a:pt x="1059" y="1501"/>
                      <a:pt x="1057" y="1502"/>
                      <a:pt x="1054" y="1502"/>
                    </a:cubicBezTo>
                    <a:cubicBezTo>
                      <a:pt x="1050" y="1502"/>
                      <a:pt x="1046" y="1503"/>
                      <a:pt x="1042" y="1503"/>
                    </a:cubicBezTo>
                    <a:cubicBezTo>
                      <a:pt x="1039" y="1503"/>
                      <a:pt x="1037" y="1504"/>
                      <a:pt x="1034" y="1504"/>
                    </a:cubicBezTo>
                    <a:cubicBezTo>
                      <a:pt x="1030" y="1504"/>
                      <a:pt x="1025" y="1504"/>
                      <a:pt x="1020" y="1505"/>
                    </a:cubicBezTo>
                    <a:cubicBezTo>
                      <a:pt x="1018" y="1505"/>
                      <a:pt x="1016" y="1505"/>
                      <a:pt x="1014" y="1505"/>
                    </a:cubicBezTo>
                    <a:cubicBezTo>
                      <a:pt x="1007" y="1505"/>
                      <a:pt x="1000" y="1505"/>
                      <a:pt x="992" y="1505"/>
                    </a:cubicBezTo>
                    <a:cubicBezTo>
                      <a:pt x="389" y="1505"/>
                      <a:pt x="389" y="1505"/>
                      <a:pt x="389" y="1505"/>
                    </a:cubicBezTo>
                    <a:cubicBezTo>
                      <a:pt x="381" y="1505"/>
                      <a:pt x="374" y="1505"/>
                      <a:pt x="367" y="1505"/>
                    </a:cubicBezTo>
                    <a:cubicBezTo>
                      <a:pt x="364" y="1505"/>
                      <a:pt x="362" y="1505"/>
                      <a:pt x="359" y="1504"/>
                    </a:cubicBezTo>
                    <a:cubicBezTo>
                      <a:pt x="355" y="1504"/>
                      <a:pt x="351" y="1504"/>
                      <a:pt x="347" y="1504"/>
                    </a:cubicBezTo>
                    <a:cubicBezTo>
                      <a:pt x="343" y="1504"/>
                      <a:pt x="340" y="1503"/>
                      <a:pt x="337" y="1503"/>
                    </a:cubicBezTo>
                    <a:cubicBezTo>
                      <a:pt x="333" y="1503"/>
                      <a:pt x="330" y="1502"/>
                      <a:pt x="327" y="1502"/>
                    </a:cubicBezTo>
                    <a:cubicBezTo>
                      <a:pt x="323" y="1502"/>
                      <a:pt x="320" y="1501"/>
                      <a:pt x="316" y="1501"/>
                    </a:cubicBezTo>
                    <a:cubicBezTo>
                      <a:pt x="313" y="1500"/>
                      <a:pt x="310" y="1500"/>
                      <a:pt x="307" y="1499"/>
                    </a:cubicBezTo>
                    <a:cubicBezTo>
                      <a:pt x="304" y="1499"/>
                      <a:pt x="300" y="1498"/>
                      <a:pt x="297" y="1498"/>
                    </a:cubicBezTo>
                    <a:cubicBezTo>
                      <a:pt x="294" y="1497"/>
                      <a:pt x="291" y="1497"/>
                      <a:pt x="289" y="1496"/>
                    </a:cubicBezTo>
                    <a:cubicBezTo>
                      <a:pt x="285" y="1495"/>
                      <a:pt x="282" y="1495"/>
                      <a:pt x="278" y="1494"/>
                    </a:cubicBezTo>
                    <a:cubicBezTo>
                      <a:pt x="276" y="1493"/>
                      <a:pt x="273" y="1493"/>
                      <a:pt x="271" y="1492"/>
                    </a:cubicBezTo>
                    <a:cubicBezTo>
                      <a:pt x="267" y="1491"/>
                      <a:pt x="264" y="1490"/>
                      <a:pt x="260" y="1489"/>
                    </a:cubicBezTo>
                    <a:cubicBezTo>
                      <a:pt x="258" y="1489"/>
                      <a:pt x="256" y="1488"/>
                      <a:pt x="253" y="1487"/>
                    </a:cubicBezTo>
                    <a:cubicBezTo>
                      <a:pt x="250" y="1486"/>
                      <a:pt x="247" y="1485"/>
                      <a:pt x="243" y="1484"/>
                    </a:cubicBezTo>
                    <a:cubicBezTo>
                      <a:pt x="241" y="1483"/>
                      <a:pt x="239" y="1483"/>
                      <a:pt x="237" y="1482"/>
                    </a:cubicBezTo>
                    <a:cubicBezTo>
                      <a:pt x="233" y="1481"/>
                      <a:pt x="230" y="1479"/>
                      <a:pt x="227" y="1478"/>
                    </a:cubicBezTo>
                    <a:cubicBezTo>
                      <a:pt x="225" y="1477"/>
                      <a:pt x="223" y="1476"/>
                      <a:pt x="221" y="1476"/>
                    </a:cubicBezTo>
                    <a:cubicBezTo>
                      <a:pt x="217" y="1474"/>
                      <a:pt x="215" y="1473"/>
                      <a:pt x="212" y="1472"/>
                    </a:cubicBezTo>
                    <a:cubicBezTo>
                      <a:pt x="209" y="1471"/>
                      <a:pt x="207" y="1470"/>
                      <a:pt x="205" y="1469"/>
                    </a:cubicBezTo>
                    <a:cubicBezTo>
                      <a:pt x="202" y="1467"/>
                      <a:pt x="200" y="1466"/>
                      <a:pt x="197" y="1464"/>
                    </a:cubicBezTo>
                    <a:cubicBezTo>
                      <a:pt x="195" y="1463"/>
                      <a:pt x="193" y="1462"/>
                      <a:pt x="191" y="1461"/>
                    </a:cubicBezTo>
                    <a:cubicBezTo>
                      <a:pt x="188" y="1459"/>
                      <a:pt x="185" y="1458"/>
                      <a:pt x="183" y="1456"/>
                    </a:cubicBezTo>
                    <a:cubicBezTo>
                      <a:pt x="181" y="1455"/>
                      <a:pt x="179" y="1454"/>
                      <a:pt x="177" y="1453"/>
                    </a:cubicBezTo>
                    <a:cubicBezTo>
                      <a:pt x="174" y="1451"/>
                      <a:pt x="172" y="1449"/>
                      <a:pt x="169" y="1447"/>
                    </a:cubicBezTo>
                    <a:cubicBezTo>
                      <a:pt x="167" y="1446"/>
                      <a:pt x="165" y="1445"/>
                      <a:pt x="163" y="1443"/>
                    </a:cubicBezTo>
                    <a:cubicBezTo>
                      <a:pt x="161" y="1442"/>
                      <a:pt x="159" y="1440"/>
                      <a:pt x="156" y="1438"/>
                    </a:cubicBezTo>
                    <a:cubicBezTo>
                      <a:pt x="154" y="1437"/>
                      <a:pt x="152" y="1435"/>
                      <a:pt x="151" y="1434"/>
                    </a:cubicBezTo>
                    <a:cubicBezTo>
                      <a:pt x="148" y="1432"/>
                      <a:pt x="146" y="1430"/>
                      <a:pt x="144" y="1428"/>
                    </a:cubicBezTo>
                    <a:cubicBezTo>
                      <a:pt x="142" y="1426"/>
                      <a:pt x="140" y="1425"/>
                      <a:pt x="139" y="1423"/>
                    </a:cubicBezTo>
                    <a:cubicBezTo>
                      <a:pt x="137" y="1421"/>
                      <a:pt x="135" y="1419"/>
                      <a:pt x="133" y="1417"/>
                    </a:cubicBezTo>
                    <a:cubicBezTo>
                      <a:pt x="131" y="1415"/>
                      <a:pt x="129" y="1414"/>
                      <a:pt x="128" y="1412"/>
                    </a:cubicBezTo>
                    <a:cubicBezTo>
                      <a:pt x="127" y="1412"/>
                      <a:pt x="127" y="1412"/>
                      <a:pt x="127" y="1412"/>
                    </a:cubicBezTo>
                    <a:cubicBezTo>
                      <a:pt x="126" y="1410"/>
                      <a:pt x="124" y="1408"/>
                      <a:pt x="123" y="1406"/>
                    </a:cubicBezTo>
                    <a:cubicBezTo>
                      <a:pt x="122" y="1405"/>
                      <a:pt x="121" y="1404"/>
                      <a:pt x="120" y="1403"/>
                    </a:cubicBezTo>
                    <a:cubicBezTo>
                      <a:pt x="45" y="1316"/>
                      <a:pt x="49" y="1200"/>
                      <a:pt x="50" y="1192"/>
                    </a:cubicBezTo>
                    <a:cubicBezTo>
                      <a:pt x="50" y="1191"/>
                      <a:pt x="50" y="1191"/>
                      <a:pt x="50" y="1191"/>
                    </a:cubicBezTo>
                    <a:cubicBezTo>
                      <a:pt x="50" y="1190"/>
                      <a:pt x="50" y="1190"/>
                      <a:pt x="50" y="1190"/>
                    </a:cubicBezTo>
                    <a:cubicBezTo>
                      <a:pt x="50" y="1185"/>
                      <a:pt x="50" y="1180"/>
                      <a:pt x="50" y="1175"/>
                    </a:cubicBezTo>
                    <a:cubicBezTo>
                      <a:pt x="50" y="1172"/>
                      <a:pt x="50" y="1169"/>
                      <a:pt x="51" y="1167"/>
                    </a:cubicBezTo>
                    <a:cubicBezTo>
                      <a:pt x="51" y="1165"/>
                      <a:pt x="51" y="1163"/>
                      <a:pt x="51" y="1161"/>
                    </a:cubicBezTo>
                    <a:cubicBezTo>
                      <a:pt x="51" y="1156"/>
                      <a:pt x="52" y="1152"/>
                      <a:pt x="52" y="1147"/>
                    </a:cubicBezTo>
                    <a:cubicBezTo>
                      <a:pt x="53" y="1142"/>
                      <a:pt x="53" y="1138"/>
                      <a:pt x="54" y="1133"/>
                    </a:cubicBezTo>
                    <a:cubicBezTo>
                      <a:pt x="78" y="942"/>
                      <a:pt x="216" y="744"/>
                      <a:pt x="337" y="605"/>
                    </a:cubicBezTo>
                    <a:cubicBezTo>
                      <a:pt x="338" y="604"/>
                      <a:pt x="339" y="603"/>
                      <a:pt x="340" y="602"/>
                    </a:cubicBezTo>
                    <a:cubicBezTo>
                      <a:pt x="340" y="601"/>
                      <a:pt x="340" y="601"/>
                      <a:pt x="340" y="601"/>
                    </a:cubicBezTo>
                    <a:cubicBezTo>
                      <a:pt x="437" y="490"/>
                      <a:pt x="522" y="417"/>
                      <a:pt x="524" y="415"/>
                    </a:cubicBezTo>
                    <a:cubicBezTo>
                      <a:pt x="524" y="414"/>
                      <a:pt x="524" y="414"/>
                      <a:pt x="524" y="414"/>
                    </a:cubicBezTo>
                    <a:cubicBezTo>
                      <a:pt x="524" y="414"/>
                      <a:pt x="524" y="414"/>
                      <a:pt x="524" y="414"/>
                    </a:cubicBezTo>
                    <a:cubicBezTo>
                      <a:pt x="526" y="413"/>
                      <a:pt x="528" y="411"/>
                      <a:pt x="530" y="409"/>
                    </a:cubicBezTo>
                    <a:cubicBezTo>
                      <a:pt x="531" y="409"/>
                      <a:pt x="531" y="408"/>
                      <a:pt x="532" y="408"/>
                    </a:cubicBezTo>
                    <a:cubicBezTo>
                      <a:pt x="533" y="406"/>
                      <a:pt x="535" y="405"/>
                      <a:pt x="536" y="403"/>
                    </a:cubicBezTo>
                    <a:cubicBezTo>
                      <a:pt x="537" y="402"/>
                      <a:pt x="537" y="401"/>
                      <a:pt x="538" y="401"/>
                    </a:cubicBezTo>
                    <a:cubicBezTo>
                      <a:pt x="539" y="400"/>
                      <a:pt x="539" y="399"/>
                      <a:pt x="540" y="398"/>
                    </a:cubicBezTo>
                    <a:cubicBezTo>
                      <a:pt x="541" y="396"/>
                      <a:pt x="542" y="395"/>
                      <a:pt x="543" y="393"/>
                    </a:cubicBezTo>
                    <a:cubicBezTo>
                      <a:pt x="544" y="392"/>
                      <a:pt x="544" y="392"/>
                      <a:pt x="544" y="392"/>
                    </a:cubicBezTo>
                    <a:cubicBezTo>
                      <a:pt x="545" y="390"/>
                      <a:pt x="546" y="388"/>
                      <a:pt x="547" y="386"/>
                    </a:cubicBezTo>
                    <a:cubicBezTo>
                      <a:pt x="547" y="385"/>
                      <a:pt x="547" y="385"/>
                      <a:pt x="547" y="385"/>
                    </a:cubicBezTo>
                    <a:cubicBezTo>
                      <a:pt x="548" y="384"/>
                      <a:pt x="548" y="383"/>
                      <a:pt x="549" y="382"/>
                    </a:cubicBezTo>
                    <a:cubicBezTo>
                      <a:pt x="549" y="381"/>
                      <a:pt x="549" y="380"/>
                      <a:pt x="550" y="379"/>
                    </a:cubicBezTo>
                    <a:cubicBezTo>
                      <a:pt x="550" y="379"/>
                      <a:pt x="550" y="378"/>
                      <a:pt x="550" y="377"/>
                    </a:cubicBezTo>
                    <a:cubicBezTo>
                      <a:pt x="551" y="376"/>
                      <a:pt x="551" y="375"/>
                      <a:pt x="551" y="373"/>
                    </a:cubicBezTo>
                    <a:cubicBezTo>
                      <a:pt x="552" y="371"/>
                      <a:pt x="552" y="370"/>
                      <a:pt x="552" y="368"/>
                    </a:cubicBezTo>
                    <a:cubicBezTo>
                      <a:pt x="552" y="367"/>
                      <a:pt x="552" y="367"/>
                      <a:pt x="552" y="367"/>
                    </a:cubicBezTo>
                    <a:cubicBezTo>
                      <a:pt x="553" y="364"/>
                      <a:pt x="553" y="362"/>
                      <a:pt x="553" y="360"/>
                    </a:cubicBezTo>
                    <a:cubicBezTo>
                      <a:pt x="553" y="360"/>
                      <a:pt x="553" y="360"/>
                      <a:pt x="553" y="360"/>
                    </a:cubicBezTo>
                    <a:cubicBezTo>
                      <a:pt x="553" y="358"/>
                      <a:pt x="553" y="355"/>
                      <a:pt x="553" y="353"/>
                    </a:cubicBezTo>
                    <a:cubicBezTo>
                      <a:pt x="553" y="353"/>
                      <a:pt x="553" y="353"/>
                      <a:pt x="553" y="353"/>
                    </a:cubicBezTo>
                    <a:cubicBezTo>
                      <a:pt x="552" y="348"/>
                      <a:pt x="551" y="343"/>
                      <a:pt x="549" y="338"/>
                    </a:cubicBezTo>
                    <a:cubicBezTo>
                      <a:pt x="542" y="316"/>
                      <a:pt x="527" y="299"/>
                      <a:pt x="521" y="294"/>
                    </a:cubicBezTo>
                    <a:cubicBezTo>
                      <a:pt x="521" y="294"/>
                      <a:pt x="521" y="294"/>
                      <a:pt x="521" y="294"/>
                    </a:cubicBezTo>
                    <a:cubicBezTo>
                      <a:pt x="521" y="294"/>
                      <a:pt x="520" y="294"/>
                      <a:pt x="520" y="293"/>
                    </a:cubicBezTo>
                    <a:cubicBezTo>
                      <a:pt x="520" y="293"/>
                      <a:pt x="520" y="293"/>
                      <a:pt x="520" y="293"/>
                    </a:cubicBezTo>
                    <a:cubicBezTo>
                      <a:pt x="519" y="293"/>
                      <a:pt x="519" y="293"/>
                      <a:pt x="519" y="293"/>
                    </a:cubicBezTo>
                    <a:cubicBezTo>
                      <a:pt x="517" y="290"/>
                      <a:pt x="514" y="288"/>
                      <a:pt x="512" y="286"/>
                    </a:cubicBezTo>
                    <a:cubicBezTo>
                      <a:pt x="512" y="285"/>
                      <a:pt x="511" y="285"/>
                      <a:pt x="511" y="285"/>
                    </a:cubicBezTo>
                    <a:cubicBezTo>
                      <a:pt x="508" y="282"/>
                      <a:pt x="506" y="280"/>
                      <a:pt x="503" y="277"/>
                    </a:cubicBezTo>
                    <a:cubicBezTo>
                      <a:pt x="503" y="277"/>
                      <a:pt x="503" y="277"/>
                      <a:pt x="503" y="277"/>
                    </a:cubicBezTo>
                    <a:cubicBezTo>
                      <a:pt x="500" y="275"/>
                      <a:pt x="498" y="272"/>
                      <a:pt x="495" y="270"/>
                    </a:cubicBezTo>
                    <a:cubicBezTo>
                      <a:pt x="494" y="268"/>
                      <a:pt x="492" y="267"/>
                      <a:pt x="490" y="265"/>
                    </a:cubicBezTo>
                    <a:cubicBezTo>
                      <a:pt x="490" y="264"/>
                      <a:pt x="489" y="263"/>
                      <a:pt x="488" y="262"/>
                    </a:cubicBezTo>
                    <a:cubicBezTo>
                      <a:pt x="486" y="260"/>
                      <a:pt x="484" y="258"/>
                      <a:pt x="482" y="256"/>
                    </a:cubicBezTo>
                    <a:cubicBezTo>
                      <a:pt x="481" y="256"/>
                      <a:pt x="481" y="256"/>
                      <a:pt x="481" y="256"/>
                    </a:cubicBezTo>
                    <a:cubicBezTo>
                      <a:pt x="454" y="229"/>
                      <a:pt x="429" y="203"/>
                      <a:pt x="413" y="183"/>
                    </a:cubicBezTo>
                    <a:cubicBezTo>
                      <a:pt x="412" y="182"/>
                      <a:pt x="412" y="182"/>
                      <a:pt x="412" y="182"/>
                    </a:cubicBezTo>
                    <a:cubicBezTo>
                      <a:pt x="411" y="181"/>
                      <a:pt x="410" y="179"/>
                      <a:pt x="409" y="178"/>
                    </a:cubicBezTo>
                    <a:cubicBezTo>
                      <a:pt x="409" y="178"/>
                      <a:pt x="409" y="178"/>
                      <a:pt x="409" y="178"/>
                    </a:cubicBezTo>
                    <a:cubicBezTo>
                      <a:pt x="403" y="171"/>
                      <a:pt x="399" y="165"/>
                      <a:pt x="396" y="160"/>
                    </a:cubicBezTo>
                    <a:cubicBezTo>
                      <a:pt x="399" y="157"/>
                      <a:pt x="405" y="152"/>
                      <a:pt x="412" y="147"/>
                    </a:cubicBezTo>
                    <a:cubicBezTo>
                      <a:pt x="421" y="140"/>
                      <a:pt x="433" y="133"/>
                      <a:pt x="447" y="125"/>
                    </a:cubicBezTo>
                    <a:cubicBezTo>
                      <a:pt x="448" y="125"/>
                      <a:pt x="448" y="125"/>
                      <a:pt x="448" y="125"/>
                    </a:cubicBezTo>
                    <a:cubicBezTo>
                      <a:pt x="449" y="124"/>
                      <a:pt x="450" y="124"/>
                      <a:pt x="451" y="123"/>
                    </a:cubicBezTo>
                    <a:cubicBezTo>
                      <a:pt x="470" y="113"/>
                      <a:pt x="491" y="102"/>
                      <a:pt x="513" y="93"/>
                    </a:cubicBezTo>
                    <a:cubicBezTo>
                      <a:pt x="517" y="91"/>
                      <a:pt x="522" y="89"/>
                      <a:pt x="527" y="87"/>
                    </a:cubicBezTo>
                    <a:cubicBezTo>
                      <a:pt x="631" y="47"/>
                      <a:pt x="750" y="47"/>
                      <a:pt x="855" y="87"/>
                    </a:cubicBezTo>
                    <a:cubicBezTo>
                      <a:pt x="859" y="89"/>
                      <a:pt x="864" y="91"/>
                      <a:pt x="868" y="93"/>
                    </a:cubicBezTo>
                    <a:cubicBezTo>
                      <a:pt x="868" y="93"/>
                      <a:pt x="868" y="93"/>
                      <a:pt x="868" y="93"/>
                    </a:cubicBezTo>
                    <a:cubicBezTo>
                      <a:pt x="892" y="103"/>
                      <a:pt x="915" y="115"/>
                      <a:pt x="935" y="126"/>
                    </a:cubicBezTo>
                    <a:cubicBezTo>
                      <a:pt x="948" y="133"/>
                      <a:pt x="960" y="140"/>
                      <a:pt x="969" y="147"/>
                    </a:cubicBezTo>
                    <a:cubicBezTo>
                      <a:pt x="976" y="152"/>
                      <a:pt x="982" y="157"/>
                      <a:pt x="985" y="160"/>
                    </a:cubicBezTo>
                    <a:cubicBezTo>
                      <a:pt x="982" y="165"/>
                      <a:pt x="978" y="171"/>
                      <a:pt x="972" y="178"/>
                    </a:cubicBezTo>
                    <a:cubicBezTo>
                      <a:pt x="972" y="178"/>
                      <a:pt x="972" y="178"/>
                      <a:pt x="972" y="178"/>
                    </a:cubicBezTo>
                    <a:cubicBezTo>
                      <a:pt x="971" y="179"/>
                      <a:pt x="970" y="180"/>
                      <a:pt x="969" y="181"/>
                    </a:cubicBezTo>
                    <a:cubicBezTo>
                      <a:pt x="969" y="182"/>
                      <a:pt x="968" y="183"/>
                      <a:pt x="967" y="184"/>
                    </a:cubicBezTo>
                    <a:cubicBezTo>
                      <a:pt x="964" y="188"/>
                      <a:pt x="960" y="193"/>
                      <a:pt x="956" y="197"/>
                    </a:cubicBezTo>
                    <a:cubicBezTo>
                      <a:pt x="956" y="197"/>
                      <a:pt x="956" y="198"/>
                      <a:pt x="955" y="198"/>
                    </a:cubicBezTo>
                    <a:cubicBezTo>
                      <a:pt x="941" y="214"/>
                      <a:pt x="921" y="234"/>
                      <a:pt x="901" y="254"/>
                    </a:cubicBezTo>
                    <a:cubicBezTo>
                      <a:pt x="901" y="255"/>
                      <a:pt x="900" y="256"/>
                      <a:pt x="900" y="256"/>
                    </a:cubicBezTo>
                    <a:cubicBezTo>
                      <a:pt x="898" y="258"/>
                      <a:pt x="896" y="259"/>
                      <a:pt x="894" y="261"/>
                    </a:cubicBezTo>
                    <a:cubicBezTo>
                      <a:pt x="893" y="262"/>
                      <a:pt x="892" y="264"/>
                      <a:pt x="891" y="265"/>
                    </a:cubicBezTo>
                    <a:cubicBezTo>
                      <a:pt x="890" y="266"/>
                      <a:pt x="888" y="267"/>
                      <a:pt x="887" y="269"/>
                    </a:cubicBezTo>
                    <a:cubicBezTo>
                      <a:pt x="884" y="271"/>
                      <a:pt x="882" y="274"/>
                      <a:pt x="879" y="276"/>
                    </a:cubicBezTo>
                    <a:cubicBezTo>
                      <a:pt x="878" y="277"/>
                      <a:pt x="878" y="277"/>
                      <a:pt x="877" y="278"/>
                    </a:cubicBezTo>
                    <a:cubicBezTo>
                      <a:pt x="875" y="280"/>
                      <a:pt x="873" y="282"/>
                      <a:pt x="870" y="284"/>
                    </a:cubicBezTo>
                    <a:cubicBezTo>
                      <a:pt x="870" y="285"/>
                      <a:pt x="869" y="286"/>
                      <a:pt x="868" y="287"/>
                    </a:cubicBezTo>
                    <a:cubicBezTo>
                      <a:pt x="866" y="288"/>
                      <a:pt x="864" y="290"/>
                      <a:pt x="862" y="292"/>
                    </a:cubicBezTo>
                    <a:cubicBezTo>
                      <a:pt x="862" y="292"/>
                      <a:pt x="862" y="293"/>
                      <a:pt x="861" y="293"/>
                    </a:cubicBezTo>
                    <a:cubicBezTo>
                      <a:pt x="861" y="293"/>
                      <a:pt x="861" y="293"/>
                      <a:pt x="861" y="293"/>
                    </a:cubicBezTo>
                    <a:cubicBezTo>
                      <a:pt x="857" y="297"/>
                      <a:pt x="839" y="314"/>
                      <a:pt x="832" y="338"/>
                    </a:cubicBezTo>
                    <a:cubicBezTo>
                      <a:pt x="830" y="343"/>
                      <a:pt x="829" y="348"/>
                      <a:pt x="828" y="353"/>
                    </a:cubicBezTo>
                    <a:cubicBezTo>
                      <a:pt x="828" y="353"/>
                      <a:pt x="828" y="353"/>
                      <a:pt x="828" y="353"/>
                    </a:cubicBezTo>
                    <a:cubicBezTo>
                      <a:pt x="828" y="355"/>
                      <a:pt x="828" y="358"/>
                      <a:pt x="828" y="360"/>
                    </a:cubicBezTo>
                    <a:cubicBezTo>
                      <a:pt x="828" y="360"/>
                      <a:pt x="828" y="360"/>
                      <a:pt x="828" y="360"/>
                    </a:cubicBezTo>
                    <a:cubicBezTo>
                      <a:pt x="828" y="362"/>
                      <a:pt x="828" y="364"/>
                      <a:pt x="829" y="367"/>
                    </a:cubicBezTo>
                    <a:cubicBezTo>
                      <a:pt x="829" y="368"/>
                      <a:pt x="829" y="368"/>
                      <a:pt x="829" y="368"/>
                    </a:cubicBezTo>
                    <a:cubicBezTo>
                      <a:pt x="829" y="370"/>
                      <a:pt x="829" y="371"/>
                      <a:pt x="830" y="373"/>
                    </a:cubicBezTo>
                    <a:cubicBezTo>
                      <a:pt x="830" y="375"/>
                      <a:pt x="830" y="376"/>
                      <a:pt x="831" y="377"/>
                    </a:cubicBezTo>
                    <a:cubicBezTo>
                      <a:pt x="831" y="378"/>
                      <a:pt x="831" y="379"/>
                      <a:pt x="831" y="379"/>
                    </a:cubicBezTo>
                    <a:cubicBezTo>
                      <a:pt x="832" y="380"/>
                      <a:pt x="832" y="381"/>
                      <a:pt x="832" y="382"/>
                    </a:cubicBezTo>
                    <a:cubicBezTo>
                      <a:pt x="833" y="383"/>
                      <a:pt x="833" y="384"/>
                      <a:pt x="834" y="385"/>
                    </a:cubicBezTo>
                    <a:cubicBezTo>
                      <a:pt x="834" y="385"/>
                      <a:pt x="834" y="385"/>
                      <a:pt x="834" y="386"/>
                    </a:cubicBezTo>
                    <a:cubicBezTo>
                      <a:pt x="835" y="388"/>
                      <a:pt x="836" y="390"/>
                      <a:pt x="837" y="392"/>
                    </a:cubicBezTo>
                    <a:cubicBezTo>
                      <a:pt x="838" y="393"/>
                      <a:pt x="838" y="393"/>
                      <a:pt x="838" y="393"/>
                    </a:cubicBezTo>
                    <a:cubicBezTo>
                      <a:pt x="839" y="395"/>
                      <a:pt x="840" y="396"/>
                      <a:pt x="841" y="398"/>
                    </a:cubicBezTo>
                    <a:cubicBezTo>
                      <a:pt x="842" y="399"/>
                      <a:pt x="842" y="400"/>
                      <a:pt x="843" y="401"/>
                    </a:cubicBezTo>
                    <a:cubicBezTo>
                      <a:pt x="844" y="401"/>
                      <a:pt x="844" y="402"/>
                      <a:pt x="845" y="403"/>
                    </a:cubicBezTo>
                    <a:cubicBezTo>
                      <a:pt x="846" y="405"/>
                      <a:pt x="848" y="406"/>
                      <a:pt x="849" y="408"/>
                    </a:cubicBezTo>
                    <a:cubicBezTo>
                      <a:pt x="850" y="408"/>
                      <a:pt x="850" y="409"/>
                      <a:pt x="851" y="409"/>
                    </a:cubicBezTo>
                    <a:cubicBezTo>
                      <a:pt x="853" y="411"/>
                      <a:pt x="854" y="413"/>
                      <a:pt x="856" y="414"/>
                    </a:cubicBezTo>
                    <a:cubicBezTo>
                      <a:pt x="857" y="414"/>
                      <a:pt x="857" y="414"/>
                      <a:pt x="857" y="414"/>
                    </a:cubicBezTo>
                    <a:cubicBezTo>
                      <a:pt x="857" y="415"/>
                      <a:pt x="857" y="415"/>
                      <a:pt x="857" y="415"/>
                    </a:cubicBezTo>
                    <a:cubicBezTo>
                      <a:pt x="863" y="420"/>
                      <a:pt x="949" y="495"/>
                      <a:pt x="1046" y="607"/>
                    </a:cubicBezTo>
                    <a:cubicBezTo>
                      <a:pt x="1166" y="747"/>
                      <a:pt x="1304" y="943"/>
                      <a:pt x="1327" y="1133"/>
                    </a:cubicBezTo>
                    <a:cubicBezTo>
                      <a:pt x="1328" y="1138"/>
                      <a:pt x="1328" y="1142"/>
                      <a:pt x="1329" y="1147"/>
                    </a:cubicBezTo>
                    <a:cubicBezTo>
                      <a:pt x="1329" y="1152"/>
                      <a:pt x="1330" y="1156"/>
                      <a:pt x="1330" y="1161"/>
                    </a:cubicBezTo>
                    <a:cubicBezTo>
                      <a:pt x="1330" y="1163"/>
                      <a:pt x="1330" y="1165"/>
                      <a:pt x="1330" y="1167"/>
                    </a:cubicBezTo>
                    <a:cubicBezTo>
                      <a:pt x="1331" y="1169"/>
                      <a:pt x="1331" y="1172"/>
                      <a:pt x="1331" y="1175"/>
                    </a:cubicBezTo>
                    <a:cubicBezTo>
                      <a:pt x="1331" y="1180"/>
                      <a:pt x="1331" y="1185"/>
                      <a:pt x="1331" y="1190"/>
                    </a:cubicBezTo>
                    <a:cubicBezTo>
                      <a:pt x="1331" y="1191"/>
                      <a:pt x="1331" y="1191"/>
                      <a:pt x="1331" y="1191"/>
                    </a:cubicBezTo>
                    <a:cubicBezTo>
                      <a:pt x="1331" y="1192"/>
                      <a:pt x="1331" y="1192"/>
                      <a:pt x="1331" y="1192"/>
                    </a:cubicBezTo>
                    <a:cubicBezTo>
                      <a:pt x="1332" y="1202"/>
                      <a:pt x="1335" y="1309"/>
                      <a:pt x="1268" y="139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9" name="bcgIcons_Scales equal balance">
            <a:extLst>
              <a:ext uri="{FF2B5EF4-FFF2-40B4-BE49-F238E27FC236}">
                <a16:creationId xmlns:a16="http://schemas.microsoft.com/office/drawing/2014/main" id="{2BE8DC5E-05A4-4FAD-A903-296446B3B7A2}"/>
              </a:ext>
            </a:extLst>
          </p:cNvPr>
          <p:cNvGrpSpPr>
            <a:grpSpLocks noChangeAspect="1"/>
          </p:cNvGrpSpPr>
          <p:nvPr/>
        </p:nvGrpSpPr>
        <p:grpSpPr>
          <a:xfrm>
            <a:off x="5865357" y="5126424"/>
            <a:ext cx="394021" cy="394021"/>
            <a:chOff x="5273675" y="2606675"/>
            <a:chExt cx="1644650" cy="1644650"/>
          </a:xfrm>
        </p:grpSpPr>
        <p:sp>
          <p:nvSpPr>
            <p:cNvPr id="100" name="AutoShape 33">
              <a:extLst>
                <a:ext uri="{FF2B5EF4-FFF2-40B4-BE49-F238E27FC236}">
                  <a16:creationId xmlns:a16="http://schemas.microsoft.com/office/drawing/2014/main" id="{DC9BD909-655D-4EED-B752-EB8C63B5DB6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2" name="Group 101">
              <a:extLst>
                <a:ext uri="{FF2B5EF4-FFF2-40B4-BE49-F238E27FC236}">
                  <a16:creationId xmlns:a16="http://schemas.microsoft.com/office/drawing/2014/main" id="{F377383C-369C-4398-8503-9307F34527CE}"/>
                </a:ext>
              </a:extLst>
            </p:cNvPr>
            <p:cNvGrpSpPr/>
            <p:nvPr/>
          </p:nvGrpSpPr>
          <p:grpSpPr>
            <a:xfrm>
              <a:off x="5403951" y="2919413"/>
              <a:ext cx="1382512" cy="1098550"/>
              <a:chOff x="5403951" y="2919413"/>
              <a:chExt cx="1382512" cy="1098550"/>
            </a:xfrm>
          </p:grpSpPr>
          <p:sp>
            <p:nvSpPr>
              <p:cNvPr id="103" name="Freeform 12">
                <a:extLst>
                  <a:ext uri="{FF2B5EF4-FFF2-40B4-BE49-F238E27FC236}">
                    <a16:creationId xmlns:a16="http://schemas.microsoft.com/office/drawing/2014/main" id="{1EED35D5-E15B-4B05-9611-F0B04BF64D34}"/>
                  </a:ext>
                </a:extLst>
              </p:cNvPr>
              <p:cNvSpPr>
                <a:spLocks/>
              </p:cNvSpPr>
              <p:nvPr/>
            </p:nvSpPr>
            <p:spPr bwMode="auto">
              <a:xfrm>
                <a:off x="5403951" y="2955925"/>
                <a:ext cx="1382512" cy="814388"/>
              </a:xfrm>
              <a:custGeom>
                <a:avLst/>
                <a:gdLst>
                  <a:gd name="connsiteX0" fmla="*/ 1172705 w 1382512"/>
                  <a:gd name="connsiteY0" fmla="*/ 90488 h 814388"/>
                  <a:gd name="connsiteX1" fmla="*/ 1034331 w 1382512"/>
                  <a:gd name="connsiteY1" fmla="*/ 488045 h 814388"/>
                  <a:gd name="connsiteX2" fmla="*/ 1000094 w 1382512"/>
                  <a:gd name="connsiteY2" fmla="*/ 586005 h 814388"/>
                  <a:gd name="connsiteX3" fmla="*/ 996527 w 1382512"/>
                  <a:gd name="connsiteY3" fmla="*/ 633912 h 814388"/>
                  <a:gd name="connsiteX4" fmla="*/ 1172705 w 1382512"/>
                  <a:gd name="connsiteY4" fmla="*/ 782638 h 814388"/>
                  <a:gd name="connsiteX5" fmla="*/ 1349596 w 1382512"/>
                  <a:gd name="connsiteY5" fmla="*/ 633912 h 814388"/>
                  <a:gd name="connsiteX6" fmla="*/ 1345317 w 1382512"/>
                  <a:gd name="connsiteY6" fmla="*/ 586005 h 814388"/>
                  <a:gd name="connsiteX7" fmla="*/ 1311793 w 1382512"/>
                  <a:gd name="connsiteY7" fmla="*/ 488045 h 814388"/>
                  <a:gd name="connsiteX8" fmla="*/ 1172705 w 1382512"/>
                  <a:gd name="connsiteY8" fmla="*/ 90488 h 814388"/>
                  <a:gd name="connsiteX9" fmla="*/ 209806 w 1382512"/>
                  <a:gd name="connsiteY9" fmla="*/ 90488 h 814388"/>
                  <a:gd name="connsiteX10" fmla="*/ 70719 w 1382512"/>
                  <a:gd name="connsiteY10" fmla="*/ 488045 h 814388"/>
                  <a:gd name="connsiteX11" fmla="*/ 37195 w 1382512"/>
                  <a:gd name="connsiteY11" fmla="*/ 586005 h 814388"/>
                  <a:gd name="connsiteX12" fmla="*/ 32915 w 1382512"/>
                  <a:gd name="connsiteY12" fmla="*/ 633912 h 814388"/>
                  <a:gd name="connsiteX13" fmla="*/ 209806 w 1382512"/>
                  <a:gd name="connsiteY13" fmla="*/ 782638 h 814388"/>
                  <a:gd name="connsiteX14" fmla="*/ 385984 w 1382512"/>
                  <a:gd name="connsiteY14" fmla="*/ 633912 h 814388"/>
                  <a:gd name="connsiteX15" fmla="*/ 382418 w 1382512"/>
                  <a:gd name="connsiteY15" fmla="*/ 586005 h 814388"/>
                  <a:gd name="connsiteX16" fmla="*/ 348181 w 1382512"/>
                  <a:gd name="connsiteY16" fmla="*/ 488045 h 814388"/>
                  <a:gd name="connsiteX17" fmla="*/ 793649 w 1382512"/>
                  <a:gd name="connsiteY17" fmla="*/ 0 h 814388"/>
                  <a:gd name="connsiteX18" fmla="*/ 1174511 w 1382512"/>
                  <a:gd name="connsiteY18" fmla="*/ 27170 h 814388"/>
                  <a:gd name="connsiteX19" fmla="*/ 1176651 w 1382512"/>
                  <a:gd name="connsiteY19" fmla="*/ 27885 h 814388"/>
                  <a:gd name="connsiteX20" fmla="*/ 1177364 w 1382512"/>
                  <a:gd name="connsiteY20" fmla="*/ 27885 h 814388"/>
                  <a:gd name="connsiteX21" fmla="*/ 1179504 w 1382512"/>
                  <a:gd name="connsiteY21" fmla="*/ 28600 h 814388"/>
                  <a:gd name="connsiteX22" fmla="*/ 1180217 w 1382512"/>
                  <a:gd name="connsiteY22" fmla="*/ 28600 h 814388"/>
                  <a:gd name="connsiteX23" fmla="*/ 1182357 w 1382512"/>
                  <a:gd name="connsiteY23" fmla="*/ 30030 h 814388"/>
                  <a:gd name="connsiteX24" fmla="*/ 1183070 w 1382512"/>
                  <a:gd name="connsiteY24" fmla="*/ 30745 h 814388"/>
                  <a:gd name="connsiteX25" fmla="*/ 1184496 w 1382512"/>
                  <a:gd name="connsiteY25" fmla="*/ 32175 h 814388"/>
                  <a:gd name="connsiteX26" fmla="*/ 1185210 w 1382512"/>
                  <a:gd name="connsiteY26" fmla="*/ 32890 h 814388"/>
                  <a:gd name="connsiteX27" fmla="*/ 1185923 w 1382512"/>
                  <a:gd name="connsiteY27" fmla="*/ 34320 h 814388"/>
                  <a:gd name="connsiteX28" fmla="*/ 1186636 w 1382512"/>
                  <a:gd name="connsiteY28" fmla="*/ 35035 h 814388"/>
                  <a:gd name="connsiteX29" fmla="*/ 1187349 w 1382512"/>
                  <a:gd name="connsiteY29" fmla="*/ 36465 h 814388"/>
                  <a:gd name="connsiteX30" fmla="*/ 1188062 w 1382512"/>
                  <a:gd name="connsiteY30" fmla="*/ 37180 h 814388"/>
                  <a:gd name="connsiteX31" fmla="*/ 1188062 w 1382512"/>
                  <a:gd name="connsiteY31" fmla="*/ 37895 h 814388"/>
                  <a:gd name="connsiteX32" fmla="*/ 1341406 w 1382512"/>
                  <a:gd name="connsiteY32" fmla="*/ 477622 h 814388"/>
                  <a:gd name="connsiteX33" fmla="*/ 1375641 w 1382512"/>
                  <a:gd name="connsiteY33" fmla="*/ 576292 h 814388"/>
                  <a:gd name="connsiteX34" fmla="*/ 1380633 w 1382512"/>
                  <a:gd name="connsiteY34" fmla="*/ 639213 h 814388"/>
                  <a:gd name="connsiteX35" fmla="*/ 1173085 w 1382512"/>
                  <a:gd name="connsiteY35" fmla="*/ 814388 h 814388"/>
                  <a:gd name="connsiteX36" fmla="*/ 965536 w 1382512"/>
                  <a:gd name="connsiteY36" fmla="*/ 639213 h 814388"/>
                  <a:gd name="connsiteX37" fmla="*/ 971242 w 1382512"/>
                  <a:gd name="connsiteY37" fmla="*/ 576292 h 814388"/>
                  <a:gd name="connsiteX38" fmla="*/ 1004764 w 1382512"/>
                  <a:gd name="connsiteY38" fmla="*/ 478337 h 814388"/>
                  <a:gd name="connsiteX39" fmla="*/ 1150262 w 1382512"/>
                  <a:gd name="connsiteY39" fmla="*/ 60060 h 814388"/>
                  <a:gd name="connsiteX40" fmla="*/ 793649 w 1382512"/>
                  <a:gd name="connsiteY40" fmla="*/ 85800 h 814388"/>
                  <a:gd name="connsiteX41" fmla="*/ 802208 w 1382512"/>
                  <a:gd name="connsiteY41" fmla="*/ 53625 h 814388"/>
                  <a:gd name="connsiteX42" fmla="*/ 953412 w 1382512"/>
                  <a:gd name="connsiteY42" fmla="*/ 42900 h 814388"/>
                  <a:gd name="connsiteX43" fmla="*/ 802208 w 1382512"/>
                  <a:gd name="connsiteY43" fmla="*/ 32175 h 814388"/>
                  <a:gd name="connsiteX44" fmla="*/ 793649 w 1382512"/>
                  <a:gd name="connsiteY44" fmla="*/ 0 h 814388"/>
                  <a:gd name="connsiteX45" fmla="*/ 588862 w 1382512"/>
                  <a:gd name="connsiteY45" fmla="*/ 0 h 814388"/>
                  <a:gd name="connsiteX46" fmla="*/ 580304 w 1382512"/>
                  <a:gd name="connsiteY46" fmla="*/ 32175 h 814388"/>
                  <a:gd name="connsiteX47" fmla="*/ 429100 w 1382512"/>
                  <a:gd name="connsiteY47" fmla="*/ 42900 h 814388"/>
                  <a:gd name="connsiteX48" fmla="*/ 580304 w 1382512"/>
                  <a:gd name="connsiteY48" fmla="*/ 53625 h 814388"/>
                  <a:gd name="connsiteX49" fmla="*/ 588862 w 1382512"/>
                  <a:gd name="connsiteY49" fmla="*/ 85800 h 814388"/>
                  <a:gd name="connsiteX50" fmla="*/ 232250 w 1382512"/>
                  <a:gd name="connsiteY50" fmla="*/ 60060 h 814388"/>
                  <a:gd name="connsiteX51" fmla="*/ 377748 w 1382512"/>
                  <a:gd name="connsiteY51" fmla="*/ 477622 h 814388"/>
                  <a:gd name="connsiteX52" fmla="*/ 411269 w 1382512"/>
                  <a:gd name="connsiteY52" fmla="*/ 576292 h 814388"/>
                  <a:gd name="connsiteX53" fmla="*/ 416975 w 1382512"/>
                  <a:gd name="connsiteY53" fmla="*/ 639213 h 814388"/>
                  <a:gd name="connsiteX54" fmla="*/ 209427 w 1382512"/>
                  <a:gd name="connsiteY54" fmla="*/ 814388 h 814388"/>
                  <a:gd name="connsiteX55" fmla="*/ 1878 w 1382512"/>
                  <a:gd name="connsiteY55" fmla="*/ 639213 h 814388"/>
                  <a:gd name="connsiteX56" fmla="*/ 6871 w 1382512"/>
                  <a:gd name="connsiteY56" fmla="*/ 576292 h 814388"/>
                  <a:gd name="connsiteX57" fmla="*/ 41106 w 1382512"/>
                  <a:gd name="connsiteY57" fmla="*/ 478337 h 814388"/>
                  <a:gd name="connsiteX58" fmla="*/ 194449 w 1382512"/>
                  <a:gd name="connsiteY58" fmla="*/ 37895 h 814388"/>
                  <a:gd name="connsiteX59" fmla="*/ 194449 w 1382512"/>
                  <a:gd name="connsiteY59" fmla="*/ 37180 h 814388"/>
                  <a:gd name="connsiteX60" fmla="*/ 195162 w 1382512"/>
                  <a:gd name="connsiteY60" fmla="*/ 36465 h 814388"/>
                  <a:gd name="connsiteX61" fmla="*/ 195875 w 1382512"/>
                  <a:gd name="connsiteY61" fmla="*/ 35035 h 814388"/>
                  <a:gd name="connsiteX62" fmla="*/ 196589 w 1382512"/>
                  <a:gd name="connsiteY62" fmla="*/ 34320 h 814388"/>
                  <a:gd name="connsiteX63" fmla="*/ 197302 w 1382512"/>
                  <a:gd name="connsiteY63" fmla="*/ 32890 h 814388"/>
                  <a:gd name="connsiteX64" fmla="*/ 198015 w 1382512"/>
                  <a:gd name="connsiteY64" fmla="*/ 32175 h 814388"/>
                  <a:gd name="connsiteX65" fmla="*/ 199442 w 1382512"/>
                  <a:gd name="connsiteY65" fmla="*/ 30745 h 814388"/>
                  <a:gd name="connsiteX66" fmla="*/ 200155 w 1382512"/>
                  <a:gd name="connsiteY66" fmla="*/ 30030 h 814388"/>
                  <a:gd name="connsiteX67" fmla="*/ 202294 w 1382512"/>
                  <a:gd name="connsiteY67" fmla="*/ 28600 h 814388"/>
                  <a:gd name="connsiteX68" fmla="*/ 203008 w 1382512"/>
                  <a:gd name="connsiteY68" fmla="*/ 28600 h 814388"/>
                  <a:gd name="connsiteX69" fmla="*/ 205147 w 1382512"/>
                  <a:gd name="connsiteY69" fmla="*/ 27885 h 814388"/>
                  <a:gd name="connsiteX70" fmla="*/ 205861 w 1382512"/>
                  <a:gd name="connsiteY70" fmla="*/ 27885 h 814388"/>
                  <a:gd name="connsiteX71" fmla="*/ 208000 w 1382512"/>
                  <a:gd name="connsiteY71" fmla="*/ 27170 h 814388"/>
                  <a:gd name="connsiteX72" fmla="*/ 588862 w 1382512"/>
                  <a:gd name="connsiteY72" fmla="*/ 0 h 81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382512" h="814388">
                    <a:moveTo>
                      <a:pt x="1172705" y="90488"/>
                    </a:moveTo>
                    <a:cubicBezTo>
                      <a:pt x="1172705" y="90488"/>
                      <a:pt x="1172705" y="90488"/>
                      <a:pt x="1034331" y="488045"/>
                    </a:cubicBezTo>
                    <a:cubicBezTo>
                      <a:pt x="1034331" y="488045"/>
                      <a:pt x="1034331" y="488045"/>
                      <a:pt x="1000094" y="586005"/>
                    </a:cubicBezTo>
                    <a:cubicBezTo>
                      <a:pt x="995101" y="601735"/>
                      <a:pt x="993674" y="618181"/>
                      <a:pt x="996527" y="633912"/>
                    </a:cubicBezTo>
                    <a:cubicBezTo>
                      <a:pt x="1010793" y="719715"/>
                      <a:pt x="1084973" y="782638"/>
                      <a:pt x="1172705" y="782638"/>
                    </a:cubicBezTo>
                    <a:cubicBezTo>
                      <a:pt x="1260437" y="782638"/>
                      <a:pt x="1334617" y="719715"/>
                      <a:pt x="1349596" y="633912"/>
                    </a:cubicBezTo>
                    <a:cubicBezTo>
                      <a:pt x="1352449" y="618181"/>
                      <a:pt x="1351023" y="601735"/>
                      <a:pt x="1345317" y="586005"/>
                    </a:cubicBezTo>
                    <a:cubicBezTo>
                      <a:pt x="1345317" y="586005"/>
                      <a:pt x="1345317" y="586005"/>
                      <a:pt x="1311793" y="488045"/>
                    </a:cubicBezTo>
                    <a:cubicBezTo>
                      <a:pt x="1311793" y="488045"/>
                      <a:pt x="1311793" y="488045"/>
                      <a:pt x="1172705" y="90488"/>
                    </a:cubicBezTo>
                    <a:close/>
                    <a:moveTo>
                      <a:pt x="209806" y="90488"/>
                    </a:moveTo>
                    <a:cubicBezTo>
                      <a:pt x="209806" y="90488"/>
                      <a:pt x="209806" y="90488"/>
                      <a:pt x="70719" y="488045"/>
                    </a:cubicBezTo>
                    <a:cubicBezTo>
                      <a:pt x="70719" y="488045"/>
                      <a:pt x="70719" y="488045"/>
                      <a:pt x="37195" y="586005"/>
                    </a:cubicBezTo>
                    <a:cubicBezTo>
                      <a:pt x="31489" y="601735"/>
                      <a:pt x="30062" y="618181"/>
                      <a:pt x="32915" y="633912"/>
                    </a:cubicBezTo>
                    <a:cubicBezTo>
                      <a:pt x="47894" y="719715"/>
                      <a:pt x="122074" y="782638"/>
                      <a:pt x="209806" y="782638"/>
                    </a:cubicBezTo>
                    <a:cubicBezTo>
                      <a:pt x="297539" y="782638"/>
                      <a:pt x="371719" y="719715"/>
                      <a:pt x="385984" y="633912"/>
                    </a:cubicBezTo>
                    <a:cubicBezTo>
                      <a:pt x="388837" y="618181"/>
                      <a:pt x="387411" y="601735"/>
                      <a:pt x="382418" y="586005"/>
                    </a:cubicBezTo>
                    <a:cubicBezTo>
                      <a:pt x="382418" y="586005"/>
                      <a:pt x="382418" y="586005"/>
                      <a:pt x="348181" y="488045"/>
                    </a:cubicBezTo>
                    <a:close/>
                    <a:moveTo>
                      <a:pt x="793649" y="0"/>
                    </a:moveTo>
                    <a:cubicBezTo>
                      <a:pt x="793649" y="0"/>
                      <a:pt x="793649" y="0"/>
                      <a:pt x="1174511" y="27170"/>
                    </a:cubicBezTo>
                    <a:cubicBezTo>
                      <a:pt x="1175224" y="27170"/>
                      <a:pt x="1175938" y="27885"/>
                      <a:pt x="1176651" y="27885"/>
                    </a:cubicBezTo>
                    <a:cubicBezTo>
                      <a:pt x="1177364" y="27885"/>
                      <a:pt x="1177364" y="27885"/>
                      <a:pt x="1177364" y="27885"/>
                    </a:cubicBezTo>
                    <a:cubicBezTo>
                      <a:pt x="1178077" y="27885"/>
                      <a:pt x="1178791" y="28600"/>
                      <a:pt x="1179504" y="28600"/>
                    </a:cubicBezTo>
                    <a:cubicBezTo>
                      <a:pt x="1179504" y="28600"/>
                      <a:pt x="1180217" y="28600"/>
                      <a:pt x="1180217" y="28600"/>
                    </a:cubicBezTo>
                    <a:cubicBezTo>
                      <a:pt x="1180930" y="29315"/>
                      <a:pt x="1181643" y="30030"/>
                      <a:pt x="1182357" y="30030"/>
                    </a:cubicBezTo>
                    <a:cubicBezTo>
                      <a:pt x="1182357" y="30745"/>
                      <a:pt x="1183070" y="30745"/>
                      <a:pt x="1183070" y="30745"/>
                    </a:cubicBezTo>
                    <a:cubicBezTo>
                      <a:pt x="1183783" y="31460"/>
                      <a:pt x="1183783" y="31460"/>
                      <a:pt x="1184496" y="32175"/>
                    </a:cubicBezTo>
                    <a:cubicBezTo>
                      <a:pt x="1184496" y="32175"/>
                      <a:pt x="1185210" y="32175"/>
                      <a:pt x="1185210" y="32890"/>
                    </a:cubicBezTo>
                    <a:cubicBezTo>
                      <a:pt x="1185210" y="32890"/>
                      <a:pt x="1185923" y="33605"/>
                      <a:pt x="1185923" y="34320"/>
                    </a:cubicBezTo>
                    <a:cubicBezTo>
                      <a:pt x="1186636" y="34320"/>
                      <a:pt x="1186636" y="35035"/>
                      <a:pt x="1186636" y="35035"/>
                    </a:cubicBezTo>
                    <a:cubicBezTo>
                      <a:pt x="1186636" y="35750"/>
                      <a:pt x="1187349" y="35750"/>
                      <a:pt x="1187349" y="36465"/>
                    </a:cubicBezTo>
                    <a:cubicBezTo>
                      <a:pt x="1187349" y="36465"/>
                      <a:pt x="1188062" y="37180"/>
                      <a:pt x="1188062" y="37180"/>
                    </a:cubicBezTo>
                    <a:cubicBezTo>
                      <a:pt x="1188062" y="37895"/>
                      <a:pt x="1188062" y="37895"/>
                      <a:pt x="1188062" y="37895"/>
                    </a:cubicBezTo>
                    <a:cubicBezTo>
                      <a:pt x="1188062" y="37895"/>
                      <a:pt x="1188062" y="37895"/>
                      <a:pt x="1341406" y="477622"/>
                    </a:cubicBezTo>
                    <a:lnTo>
                      <a:pt x="1375641" y="576292"/>
                    </a:lnTo>
                    <a:cubicBezTo>
                      <a:pt x="1382773" y="597027"/>
                      <a:pt x="1384199" y="618477"/>
                      <a:pt x="1380633" y="639213"/>
                    </a:cubicBezTo>
                    <a:cubicBezTo>
                      <a:pt x="1363516" y="740743"/>
                      <a:pt x="1275789" y="814388"/>
                      <a:pt x="1173085" y="814388"/>
                    </a:cubicBezTo>
                    <a:cubicBezTo>
                      <a:pt x="1070380" y="814388"/>
                      <a:pt x="982654" y="740743"/>
                      <a:pt x="965536" y="639213"/>
                    </a:cubicBezTo>
                    <a:cubicBezTo>
                      <a:pt x="961970" y="618477"/>
                      <a:pt x="964110" y="597027"/>
                      <a:pt x="971242" y="576292"/>
                    </a:cubicBezTo>
                    <a:cubicBezTo>
                      <a:pt x="971242" y="576292"/>
                      <a:pt x="971242" y="576292"/>
                      <a:pt x="1004764" y="478337"/>
                    </a:cubicBezTo>
                    <a:cubicBezTo>
                      <a:pt x="1004764" y="478337"/>
                      <a:pt x="1004764" y="478337"/>
                      <a:pt x="1150262" y="60060"/>
                    </a:cubicBezTo>
                    <a:cubicBezTo>
                      <a:pt x="1150262" y="60060"/>
                      <a:pt x="1150262" y="60060"/>
                      <a:pt x="793649" y="85800"/>
                    </a:cubicBezTo>
                    <a:cubicBezTo>
                      <a:pt x="797929" y="75790"/>
                      <a:pt x="800781" y="65065"/>
                      <a:pt x="802208" y="53625"/>
                    </a:cubicBezTo>
                    <a:cubicBezTo>
                      <a:pt x="802208" y="53625"/>
                      <a:pt x="802208" y="53625"/>
                      <a:pt x="953412" y="42900"/>
                    </a:cubicBezTo>
                    <a:cubicBezTo>
                      <a:pt x="953412" y="42900"/>
                      <a:pt x="953412" y="42900"/>
                      <a:pt x="802208" y="32175"/>
                    </a:cubicBezTo>
                    <a:cubicBezTo>
                      <a:pt x="800781" y="20735"/>
                      <a:pt x="797929" y="10010"/>
                      <a:pt x="793649" y="0"/>
                    </a:cubicBezTo>
                    <a:close/>
                    <a:moveTo>
                      <a:pt x="588862" y="0"/>
                    </a:moveTo>
                    <a:cubicBezTo>
                      <a:pt x="584583" y="10010"/>
                      <a:pt x="581730" y="20735"/>
                      <a:pt x="580304" y="32175"/>
                    </a:cubicBezTo>
                    <a:cubicBezTo>
                      <a:pt x="580304" y="32175"/>
                      <a:pt x="580304" y="32175"/>
                      <a:pt x="429100" y="42900"/>
                    </a:cubicBezTo>
                    <a:cubicBezTo>
                      <a:pt x="429100" y="42900"/>
                      <a:pt x="429100" y="42900"/>
                      <a:pt x="580304" y="53625"/>
                    </a:cubicBezTo>
                    <a:cubicBezTo>
                      <a:pt x="581730" y="65065"/>
                      <a:pt x="584583" y="75790"/>
                      <a:pt x="588862" y="85800"/>
                    </a:cubicBezTo>
                    <a:cubicBezTo>
                      <a:pt x="588862" y="85800"/>
                      <a:pt x="588862" y="85800"/>
                      <a:pt x="232250" y="60060"/>
                    </a:cubicBezTo>
                    <a:cubicBezTo>
                      <a:pt x="232250" y="60060"/>
                      <a:pt x="232250" y="60060"/>
                      <a:pt x="377748" y="477622"/>
                    </a:cubicBezTo>
                    <a:cubicBezTo>
                      <a:pt x="377748" y="477622"/>
                      <a:pt x="377748" y="477622"/>
                      <a:pt x="411269" y="576292"/>
                    </a:cubicBezTo>
                    <a:cubicBezTo>
                      <a:pt x="418402" y="597027"/>
                      <a:pt x="420541" y="618477"/>
                      <a:pt x="416975" y="639213"/>
                    </a:cubicBezTo>
                    <a:cubicBezTo>
                      <a:pt x="399858" y="740743"/>
                      <a:pt x="312131" y="814388"/>
                      <a:pt x="209427" y="814388"/>
                    </a:cubicBezTo>
                    <a:cubicBezTo>
                      <a:pt x="106722" y="814388"/>
                      <a:pt x="18996" y="740743"/>
                      <a:pt x="1878" y="639213"/>
                    </a:cubicBezTo>
                    <a:cubicBezTo>
                      <a:pt x="-1688" y="618477"/>
                      <a:pt x="-261" y="597027"/>
                      <a:pt x="6871" y="576292"/>
                    </a:cubicBezTo>
                    <a:cubicBezTo>
                      <a:pt x="6871" y="576292"/>
                      <a:pt x="6871" y="576292"/>
                      <a:pt x="41106" y="478337"/>
                    </a:cubicBezTo>
                    <a:cubicBezTo>
                      <a:pt x="41106" y="478337"/>
                      <a:pt x="41106" y="478337"/>
                      <a:pt x="194449" y="37895"/>
                    </a:cubicBezTo>
                    <a:cubicBezTo>
                      <a:pt x="194449" y="37895"/>
                      <a:pt x="194449" y="37895"/>
                      <a:pt x="194449" y="37180"/>
                    </a:cubicBezTo>
                    <a:cubicBezTo>
                      <a:pt x="194449" y="37180"/>
                      <a:pt x="195162" y="36465"/>
                      <a:pt x="195162" y="36465"/>
                    </a:cubicBezTo>
                    <a:cubicBezTo>
                      <a:pt x="195162" y="35750"/>
                      <a:pt x="195875" y="35750"/>
                      <a:pt x="195875" y="35035"/>
                    </a:cubicBezTo>
                    <a:cubicBezTo>
                      <a:pt x="195875" y="35035"/>
                      <a:pt x="195875" y="34320"/>
                      <a:pt x="196589" y="34320"/>
                    </a:cubicBezTo>
                    <a:cubicBezTo>
                      <a:pt x="196589" y="33605"/>
                      <a:pt x="197302" y="32890"/>
                      <a:pt x="197302" y="32890"/>
                    </a:cubicBezTo>
                    <a:cubicBezTo>
                      <a:pt x="197302" y="32175"/>
                      <a:pt x="198015" y="32175"/>
                      <a:pt x="198015" y="32175"/>
                    </a:cubicBezTo>
                    <a:cubicBezTo>
                      <a:pt x="198728" y="31460"/>
                      <a:pt x="198728" y="31460"/>
                      <a:pt x="199442" y="30745"/>
                    </a:cubicBezTo>
                    <a:cubicBezTo>
                      <a:pt x="199442" y="30745"/>
                      <a:pt x="200155" y="30745"/>
                      <a:pt x="200155" y="30030"/>
                    </a:cubicBezTo>
                    <a:cubicBezTo>
                      <a:pt x="200868" y="30030"/>
                      <a:pt x="201581" y="29315"/>
                      <a:pt x="202294" y="28600"/>
                    </a:cubicBezTo>
                    <a:cubicBezTo>
                      <a:pt x="202294" y="28600"/>
                      <a:pt x="203008" y="28600"/>
                      <a:pt x="203008" y="28600"/>
                    </a:cubicBezTo>
                    <a:cubicBezTo>
                      <a:pt x="203721" y="28600"/>
                      <a:pt x="204434" y="27885"/>
                      <a:pt x="205147" y="27885"/>
                    </a:cubicBezTo>
                    <a:cubicBezTo>
                      <a:pt x="205147" y="27885"/>
                      <a:pt x="205147" y="27885"/>
                      <a:pt x="205861" y="27885"/>
                    </a:cubicBezTo>
                    <a:cubicBezTo>
                      <a:pt x="206574" y="27885"/>
                      <a:pt x="207287" y="27170"/>
                      <a:pt x="208000" y="27170"/>
                    </a:cubicBezTo>
                    <a:cubicBezTo>
                      <a:pt x="208000" y="27170"/>
                      <a:pt x="208000" y="27170"/>
                      <a:pt x="58886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04" name="Freeform 13">
                <a:extLst>
                  <a:ext uri="{FF2B5EF4-FFF2-40B4-BE49-F238E27FC236}">
                    <a16:creationId xmlns:a16="http://schemas.microsoft.com/office/drawing/2014/main" id="{28B09B99-3FD2-40A1-B8FD-1D9CAD2B96EC}"/>
                  </a:ext>
                </a:extLst>
              </p:cNvPr>
              <p:cNvSpPr>
                <a:spLocks/>
              </p:cNvSpPr>
              <p:nvPr/>
            </p:nvSpPr>
            <p:spPr bwMode="auto">
              <a:xfrm>
                <a:off x="5465763" y="2919413"/>
                <a:ext cx="1258887" cy="1098550"/>
              </a:xfrm>
              <a:custGeom>
                <a:avLst/>
                <a:gdLst>
                  <a:gd name="connsiteX0" fmla="*/ 963612 w 1258887"/>
                  <a:gd name="connsiteY0" fmla="*/ 644525 h 1098550"/>
                  <a:gd name="connsiteX1" fmla="*/ 1258887 w 1258887"/>
                  <a:gd name="connsiteY1" fmla="*/ 644525 h 1098550"/>
                  <a:gd name="connsiteX2" fmla="*/ 1111250 w 1258887"/>
                  <a:gd name="connsiteY2" fmla="*/ 787400 h 1098550"/>
                  <a:gd name="connsiteX3" fmla="*/ 963612 w 1258887"/>
                  <a:gd name="connsiteY3" fmla="*/ 644525 h 1098550"/>
                  <a:gd name="connsiteX4" fmla="*/ 0 w 1258887"/>
                  <a:gd name="connsiteY4" fmla="*/ 644525 h 1098550"/>
                  <a:gd name="connsiteX5" fmla="*/ 295275 w 1258887"/>
                  <a:gd name="connsiteY5" fmla="*/ 644525 h 1098550"/>
                  <a:gd name="connsiteX6" fmla="*/ 147637 w 1258887"/>
                  <a:gd name="connsiteY6" fmla="*/ 787400 h 1098550"/>
                  <a:gd name="connsiteX7" fmla="*/ 0 w 1258887"/>
                  <a:gd name="connsiteY7" fmla="*/ 644525 h 1098550"/>
                  <a:gd name="connsiteX8" fmla="*/ 629881 w 1258887"/>
                  <a:gd name="connsiteY8" fmla="*/ 0 h 1098550"/>
                  <a:gd name="connsiteX9" fmla="*/ 634873 w 1258887"/>
                  <a:gd name="connsiteY9" fmla="*/ 0 h 1098550"/>
                  <a:gd name="connsiteX10" fmla="*/ 694786 w 1258887"/>
                  <a:gd name="connsiteY10" fmla="*/ 33571 h 1098550"/>
                  <a:gd name="connsiteX11" fmla="*/ 708338 w 1258887"/>
                  <a:gd name="connsiteY11" fmla="*/ 66427 h 1098550"/>
                  <a:gd name="connsiteX12" fmla="*/ 709051 w 1258887"/>
                  <a:gd name="connsiteY12" fmla="*/ 74999 h 1098550"/>
                  <a:gd name="connsiteX13" fmla="*/ 708338 w 1258887"/>
                  <a:gd name="connsiteY13" fmla="*/ 92855 h 1098550"/>
                  <a:gd name="connsiteX14" fmla="*/ 694786 w 1258887"/>
                  <a:gd name="connsiteY14" fmla="*/ 124998 h 1098550"/>
                  <a:gd name="connsiteX15" fmla="*/ 670536 w 1258887"/>
                  <a:gd name="connsiteY15" fmla="*/ 147854 h 1098550"/>
                  <a:gd name="connsiteX16" fmla="*/ 670536 w 1258887"/>
                  <a:gd name="connsiteY16" fmla="*/ 987838 h 1098550"/>
                  <a:gd name="connsiteX17" fmla="*/ 682661 w 1258887"/>
                  <a:gd name="connsiteY17" fmla="*/ 1002838 h 1098550"/>
                  <a:gd name="connsiteX18" fmla="*/ 939431 w 1258887"/>
                  <a:gd name="connsiteY18" fmla="*/ 1067837 h 1098550"/>
                  <a:gd name="connsiteX19" fmla="*/ 935865 w 1258887"/>
                  <a:gd name="connsiteY19" fmla="*/ 1098550 h 1098550"/>
                  <a:gd name="connsiteX20" fmla="*/ 324610 w 1258887"/>
                  <a:gd name="connsiteY20" fmla="*/ 1098550 h 1098550"/>
                  <a:gd name="connsiteX21" fmla="*/ 321043 w 1258887"/>
                  <a:gd name="connsiteY21" fmla="*/ 1067837 h 1098550"/>
                  <a:gd name="connsiteX22" fmla="*/ 581380 w 1258887"/>
                  <a:gd name="connsiteY22" fmla="*/ 1002838 h 1098550"/>
                  <a:gd name="connsiteX23" fmla="*/ 593505 w 1258887"/>
                  <a:gd name="connsiteY23" fmla="*/ 987838 h 1098550"/>
                  <a:gd name="connsiteX24" fmla="*/ 593505 w 1258887"/>
                  <a:gd name="connsiteY24" fmla="*/ 149997 h 1098550"/>
                  <a:gd name="connsiteX25" fmla="*/ 564975 w 1258887"/>
                  <a:gd name="connsiteY25" fmla="*/ 124998 h 1098550"/>
                  <a:gd name="connsiteX26" fmla="*/ 551423 w 1258887"/>
                  <a:gd name="connsiteY26" fmla="*/ 92855 h 1098550"/>
                  <a:gd name="connsiteX27" fmla="*/ 550710 w 1258887"/>
                  <a:gd name="connsiteY27" fmla="*/ 79284 h 1098550"/>
                  <a:gd name="connsiteX28" fmla="*/ 551423 w 1258887"/>
                  <a:gd name="connsiteY28" fmla="*/ 66427 h 1098550"/>
                  <a:gd name="connsiteX29" fmla="*/ 564975 w 1258887"/>
                  <a:gd name="connsiteY29" fmla="*/ 33571 h 1098550"/>
                  <a:gd name="connsiteX30" fmla="*/ 629881 w 1258887"/>
                  <a:gd name="connsiteY30" fmla="*/ 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58887" h="1098550">
                    <a:moveTo>
                      <a:pt x="963612" y="644525"/>
                    </a:moveTo>
                    <a:cubicBezTo>
                      <a:pt x="963612" y="644525"/>
                      <a:pt x="963612" y="644525"/>
                      <a:pt x="1258887" y="644525"/>
                    </a:cubicBezTo>
                    <a:cubicBezTo>
                      <a:pt x="1256748" y="723106"/>
                      <a:pt x="1190418" y="787400"/>
                      <a:pt x="1111250" y="787400"/>
                    </a:cubicBezTo>
                    <a:cubicBezTo>
                      <a:pt x="1032795" y="787400"/>
                      <a:pt x="966465" y="723106"/>
                      <a:pt x="963612" y="644525"/>
                    </a:cubicBezTo>
                    <a:close/>
                    <a:moveTo>
                      <a:pt x="0" y="644525"/>
                    </a:moveTo>
                    <a:cubicBezTo>
                      <a:pt x="0" y="644525"/>
                      <a:pt x="0" y="644525"/>
                      <a:pt x="295275" y="644525"/>
                    </a:cubicBezTo>
                    <a:cubicBezTo>
                      <a:pt x="292422" y="723106"/>
                      <a:pt x="226092" y="787400"/>
                      <a:pt x="147637" y="787400"/>
                    </a:cubicBezTo>
                    <a:cubicBezTo>
                      <a:pt x="68469" y="787400"/>
                      <a:pt x="2139" y="723106"/>
                      <a:pt x="0" y="644525"/>
                    </a:cubicBezTo>
                    <a:close/>
                    <a:moveTo>
                      <a:pt x="629881" y="0"/>
                    </a:moveTo>
                    <a:cubicBezTo>
                      <a:pt x="631307" y="0"/>
                      <a:pt x="633447" y="0"/>
                      <a:pt x="634873" y="0"/>
                    </a:cubicBezTo>
                    <a:cubicBezTo>
                      <a:pt x="659837" y="1429"/>
                      <a:pt x="681235" y="14286"/>
                      <a:pt x="694786" y="33571"/>
                    </a:cubicBezTo>
                    <a:cubicBezTo>
                      <a:pt x="701919" y="43571"/>
                      <a:pt x="706198" y="54285"/>
                      <a:pt x="708338" y="66427"/>
                    </a:cubicBezTo>
                    <a:cubicBezTo>
                      <a:pt x="709051" y="69284"/>
                      <a:pt x="709051" y="72142"/>
                      <a:pt x="709051" y="74999"/>
                    </a:cubicBezTo>
                    <a:cubicBezTo>
                      <a:pt x="709765" y="80713"/>
                      <a:pt x="709051" y="87141"/>
                      <a:pt x="708338" y="92855"/>
                    </a:cubicBezTo>
                    <a:cubicBezTo>
                      <a:pt x="706198" y="104284"/>
                      <a:pt x="701919" y="115712"/>
                      <a:pt x="694786" y="124998"/>
                    </a:cubicBezTo>
                    <a:cubicBezTo>
                      <a:pt x="688367" y="134283"/>
                      <a:pt x="680521" y="142140"/>
                      <a:pt x="670536" y="147854"/>
                    </a:cubicBezTo>
                    <a:cubicBezTo>
                      <a:pt x="670536" y="147854"/>
                      <a:pt x="670536" y="147854"/>
                      <a:pt x="670536" y="987838"/>
                    </a:cubicBezTo>
                    <a:cubicBezTo>
                      <a:pt x="670536" y="994981"/>
                      <a:pt x="675529" y="1001409"/>
                      <a:pt x="682661" y="1002838"/>
                    </a:cubicBezTo>
                    <a:cubicBezTo>
                      <a:pt x="682661" y="1002838"/>
                      <a:pt x="682661" y="1002838"/>
                      <a:pt x="939431" y="1067837"/>
                    </a:cubicBezTo>
                    <a:cubicBezTo>
                      <a:pt x="957262" y="1072122"/>
                      <a:pt x="954409" y="1098550"/>
                      <a:pt x="935865" y="1098550"/>
                    </a:cubicBezTo>
                    <a:cubicBezTo>
                      <a:pt x="935865" y="1098550"/>
                      <a:pt x="935865" y="1098550"/>
                      <a:pt x="324610" y="1098550"/>
                    </a:cubicBezTo>
                    <a:cubicBezTo>
                      <a:pt x="306065" y="1098550"/>
                      <a:pt x="303212" y="1072122"/>
                      <a:pt x="321043" y="1067837"/>
                    </a:cubicBezTo>
                    <a:cubicBezTo>
                      <a:pt x="321043" y="1067837"/>
                      <a:pt x="321043" y="1067837"/>
                      <a:pt x="581380" y="1002838"/>
                    </a:cubicBezTo>
                    <a:cubicBezTo>
                      <a:pt x="588512" y="1001409"/>
                      <a:pt x="593505" y="994981"/>
                      <a:pt x="593505" y="987838"/>
                    </a:cubicBezTo>
                    <a:cubicBezTo>
                      <a:pt x="593505" y="987838"/>
                      <a:pt x="593505" y="987838"/>
                      <a:pt x="593505" y="149997"/>
                    </a:cubicBezTo>
                    <a:cubicBezTo>
                      <a:pt x="582093" y="144283"/>
                      <a:pt x="572107" y="135712"/>
                      <a:pt x="564975" y="124998"/>
                    </a:cubicBezTo>
                    <a:cubicBezTo>
                      <a:pt x="557842" y="115712"/>
                      <a:pt x="553563" y="104284"/>
                      <a:pt x="551423" y="92855"/>
                    </a:cubicBezTo>
                    <a:cubicBezTo>
                      <a:pt x="550710" y="88570"/>
                      <a:pt x="550710" y="83570"/>
                      <a:pt x="550710" y="79284"/>
                    </a:cubicBezTo>
                    <a:cubicBezTo>
                      <a:pt x="550710" y="74999"/>
                      <a:pt x="550710" y="70713"/>
                      <a:pt x="551423" y="66427"/>
                    </a:cubicBezTo>
                    <a:cubicBezTo>
                      <a:pt x="553563" y="54285"/>
                      <a:pt x="557842" y="43571"/>
                      <a:pt x="564975" y="33571"/>
                    </a:cubicBezTo>
                    <a:cubicBezTo>
                      <a:pt x="579240" y="12857"/>
                      <a:pt x="602777" y="0"/>
                      <a:pt x="629881"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grpSp>
        <p:nvGrpSpPr>
          <p:cNvPr id="105" name="bcgIcons_Geopolitics ">
            <a:extLst>
              <a:ext uri="{FF2B5EF4-FFF2-40B4-BE49-F238E27FC236}">
                <a16:creationId xmlns:a16="http://schemas.microsoft.com/office/drawing/2014/main" id="{88274938-72AE-4E79-B61F-E419CE7C99FD}"/>
              </a:ext>
            </a:extLst>
          </p:cNvPr>
          <p:cNvGrpSpPr>
            <a:grpSpLocks noChangeAspect="1"/>
          </p:cNvGrpSpPr>
          <p:nvPr/>
        </p:nvGrpSpPr>
        <p:grpSpPr bwMode="auto">
          <a:xfrm>
            <a:off x="8112468" y="5126424"/>
            <a:ext cx="393656" cy="394021"/>
            <a:chOff x="1682" y="0"/>
            <a:chExt cx="4316" cy="4320"/>
          </a:xfrm>
        </p:grpSpPr>
        <p:sp>
          <p:nvSpPr>
            <p:cNvPr id="106" name="AutoShape 3">
              <a:extLst>
                <a:ext uri="{FF2B5EF4-FFF2-40B4-BE49-F238E27FC236}">
                  <a16:creationId xmlns:a16="http://schemas.microsoft.com/office/drawing/2014/main" id="{ED8653AA-7914-483C-940A-546E29C6BDF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5">
              <a:extLst>
                <a:ext uri="{FF2B5EF4-FFF2-40B4-BE49-F238E27FC236}">
                  <a16:creationId xmlns:a16="http://schemas.microsoft.com/office/drawing/2014/main" id="{8BCC0C07-DCD7-4BC8-9FAF-A66229669C64}"/>
                </a:ext>
              </a:extLst>
            </p:cNvPr>
            <p:cNvSpPr>
              <a:spLocks noEditPoints="1"/>
            </p:cNvSpPr>
            <p:nvPr/>
          </p:nvSpPr>
          <p:spPr bwMode="auto">
            <a:xfrm>
              <a:off x="2295" y="611"/>
              <a:ext cx="3094" cy="3098"/>
            </a:xfrm>
            <a:custGeom>
              <a:avLst/>
              <a:gdLst>
                <a:gd name="T0" fmla="*/ 769 w 1652"/>
                <a:gd name="T1" fmla="*/ 804 h 1652"/>
                <a:gd name="T2" fmla="*/ 382 w 1652"/>
                <a:gd name="T3" fmla="*/ 579 h 1652"/>
                <a:gd name="T4" fmla="*/ 475 w 1652"/>
                <a:gd name="T5" fmla="*/ 375 h 1652"/>
                <a:gd name="T6" fmla="*/ 804 w 1652"/>
                <a:gd name="T7" fmla="*/ 452 h 1652"/>
                <a:gd name="T8" fmla="*/ 882 w 1652"/>
                <a:gd name="T9" fmla="*/ 372 h 1652"/>
                <a:gd name="T10" fmla="*/ 1074 w 1652"/>
                <a:gd name="T11" fmla="*/ 339 h 1652"/>
                <a:gd name="T12" fmla="*/ 909 w 1652"/>
                <a:gd name="T13" fmla="*/ 4 h 1652"/>
                <a:gd name="T14" fmla="*/ 848 w 1652"/>
                <a:gd name="T15" fmla="*/ 338 h 1652"/>
                <a:gd name="T16" fmla="*/ 1251 w 1652"/>
                <a:gd name="T17" fmla="*/ 490 h 1652"/>
                <a:gd name="T18" fmla="*/ 1084 w 1652"/>
                <a:gd name="T19" fmla="*/ 395 h 1652"/>
                <a:gd name="T20" fmla="*/ 848 w 1652"/>
                <a:gd name="T21" fmla="*/ 452 h 1652"/>
                <a:gd name="T22" fmla="*/ 883 w 1652"/>
                <a:gd name="T23" fmla="*/ 804 h 1652"/>
                <a:gd name="T24" fmla="*/ 1290 w 1652"/>
                <a:gd name="T25" fmla="*/ 770 h 1652"/>
                <a:gd name="T26" fmla="*/ 589 w 1652"/>
                <a:gd name="T27" fmla="*/ 848 h 1652"/>
                <a:gd name="T28" fmla="*/ 427 w 1652"/>
                <a:gd name="T29" fmla="*/ 1252 h 1652"/>
                <a:gd name="T30" fmla="*/ 647 w 1652"/>
                <a:gd name="T31" fmla="*/ 1245 h 1652"/>
                <a:gd name="T32" fmla="*/ 804 w 1652"/>
                <a:gd name="T33" fmla="*/ 883 h 1652"/>
                <a:gd name="T34" fmla="*/ 589 w 1652"/>
                <a:gd name="T35" fmla="*/ 848 h 1652"/>
                <a:gd name="T36" fmla="*/ 1256 w 1652"/>
                <a:gd name="T37" fmla="*/ 848 h 1652"/>
                <a:gd name="T38" fmla="*/ 848 w 1652"/>
                <a:gd name="T39" fmla="*/ 883 h 1652"/>
                <a:gd name="T40" fmla="*/ 1005 w 1652"/>
                <a:gd name="T41" fmla="*/ 1245 h 1652"/>
                <a:gd name="T42" fmla="*/ 1225 w 1652"/>
                <a:gd name="T43" fmla="*/ 1252 h 1652"/>
                <a:gd name="T44" fmla="*/ 1379 w 1652"/>
                <a:gd name="T45" fmla="*/ 339 h 1652"/>
                <a:gd name="T46" fmla="*/ 1334 w 1652"/>
                <a:gd name="T47" fmla="*/ 769 h 1652"/>
                <a:gd name="T48" fmla="*/ 1652 w 1652"/>
                <a:gd name="T49" fmla="*/ 804 h 1652"/>
                <a:gd name="T50" fmla="*/ 1376 w 1652"/>
                <a:gd name="T51" fmla="*/ 306 h 1652"/>
                <a:gd name="T52" fmla="*/ 1151 w 1652"/>
                <a:gd name="T53" fmla="*/ 1421 h 1652"/>
                <a:gd name="T54" fmla="*/ 1166 w 1652"/>
                <a:gd name="T55" fmla="*/ 1319 h 1652"/>
                <a:gd name="T56" fmla="*/ 848 w 1652"/>
                <a:gd name="T57" fmla="*/ 1435 h 1652"/>
                <a:gd name="T58" fmla="*/ 909 w 1652"/>
                <a:gd name="T59" fmla="*/ 1648 h 1652"/>
                <a:gd name="T60" fmla="*/ 1180 w 1652"/>
                <a:gd name="T61" fmla="*/ 193 h 1652"/>
                <a:gd name="T62" fmla="*/ 1360 w 1652"/>
                <a:gd name="T63" fmla="*/ 265 h 1652"/>
                <a:gd name="T64" fmla="*/ 1042 w 1652"/>
                <a:gd name="T65" fmla="*/ 29 h 1652"/>
                <a:gd name="T66" fmla="*/ 1274 w 1652"/>
                <a:gd name="T67" fmla="*/ 1352 h 1652"/>
                <a:gd name="T68" fmla="*/ 1225 w 1652"/>
                <a:gd name="T69" fmla="*/ 1374 h 1652"/>
                <a:gd name="T70" fmla="*/ 1042 w 1652"/>
                <a:gd name="T71" fmla="*/ 1623 h 1652"/>
                <a:gd name="T72" fmla="*/ 1274 w 1652"/>
                <a:gd name="T73" fmla="*/ 1352 h 1652"/>
                <a:gd name="T74" fmla="*/ 427 w 1652"/>
                <a:gd name="T75" fmla="*/ 1374 h 1652"/>
                <a:gd name="T76" fmla="*/ 378 w 1652"/>
                <a:gd name="T77" fmla="*/ 1352 h 1652"/>
                <a:gd name="T78" fmla="*/ 610 w 1652"/>
                <a:gd name="T79" fmla="*/ 1623 h 1652"/>
                <a:gd name="T80" fmla="*/ 650 w 1652"/>
                <a:gd name="T81" fmla="*/ 1289 h 1652"/>
                <a:gd name="T82" fmla="*/ 468 w 1652"/>
                <a:gd name="T83" fmla="*/ 1357 h 1652"/>
                <a:gd name="T84" fmla="*/ 743 w 1652"/>
                <a:gd name="T85" fmla="*/ 1648 h 1652"/>
                <a:gd name="T86" fmla="*/ 804 w 1652"/>
                <a:gd name="T87" fmla="*/ 1435 h 1652"/>
                <a:gd name="T88" fmla="*/ 1370 w 1652"/>
                <a:gd name="T89" fmla="*/ 848 h 1652"/>
                <a:gd name="T90" fmla="*/ 1267 w 1652"/>
                <a:gd name="T91" fmla="*/ 1267 h 1652"/>
                <a:gd name="T92" fmla="*/ 1440 w 1652"/>
                <a:gd name="T93" fmla="*/ 1378 h 1652"/>
                <a:gd name="T94" fmla="*/ 1370 w 1652"/>
                <a:gd name="T95" fmla="*/ 848 h 1652"/>
                <a:gd name="T96" fmla="*/ 338 w 1652"/>
                <a:gd name="T97" fmla="*/ 575 h 1652"/>
                <a:gd name="T98" fmla="*/ 365 w 1652"/>
                <a:gd name="T99" fmla="*/ 342 h 1652"/>
                <a:gd name="T100" fmla="*/ 0 w 1652"/>
                <a:gd name="T101" fmla="*/ 804 h 1652"/>
                <a:gd name="T102" fmla="*/ 385 w 1652"/>
                <a:gd name="T103" fmla="*/ 1267 h 1652"/>
                <a:gd name="T104" fmla="*/ 90 w 1652"/>
                <a:gd name="T105" fmla="*/ 848 h 1652"/>
                <a:gd name="T106" fmla="*/ 212 w 1652"/>
                <a:gd name="T107" fmla="*/ 1378 h 1652"/>
                <a:gd name="T108" fmla="*/ 385 w 1652"/>
                <a:gd name="T109" fmla="*/ 1267 h 1652"/>
                <a:gd name="T110" fmla="*/ 426 w 1652"/>
                <a:gd name="T111" fmla="*/ 278 h 1652"/>
                <a:gd name="T112" fmla="*/ 463 w 1652"/>
                <a:gd name="T113" fmla="*/ 209 h 1652"/>
                <a:gd name="T114" fmla="*/ 244 w 1652"/>
                <a:gd name="T115" fmla="*/ 241 h 1652"/>
                <a:gd name="T116" fmla="*/ 804 w 1652"/>
                <a:gd name="T117" fmla="*/ 0 h 1652"/>
                <a:gd name="T118" fmla="*/ 501 w 1652"/>
                <a:gd name="T119" fmla="*/ 231 h 1652"/>
                <a:gd name="T120" fmla="*/ 486 w 1652"/>
                <a:gd name="T121" fmla="*/ 333 h 1652"/>
                <a:gd name="T122" fmla="*/ 804 w 1652"/>
                <a:gd name="T123" fmla="*/ 338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2" h="1652">
                  <a:moveTo>
                    <a:pt x="804" y="769"/>
                  </a:moveTo>
                  <a:cubicBezTo>
                    <a:pt x="788" y="775"/>
                    <a:pt x="775" y="788"/>
                    <a:pt x="769" y="804"/>
                  </a:cubicBezTo>
                  <a:cubicBezTo>
                    <a:pt x="589" y="804"/>
                    <a:pt x="589" y="804"/>
                    <a:pt x="589" y="804"/>
                  </a:cubicBezTo>
                  <a:cubicBezTo>
                    <a:pt x="579" y="690"/>
                    <a:pt x="493" y="598"/>
                    <a:pt x="382" y="579"/>
                  </a:cubicBezTo>
                  <a:cubicBezTo>
                    <a:pt x="393" y="516"/>
                    <a:pt x="408" y="456"/>
                    <a:pt x="427" y="400"/>
                  </a:cubicBezTo>
                  <a:cubicBezTo>
                    <a:pt x="446" y="400"/>
                    <a:pt x="464" y="390"/>
                    <a:pt x="475" y="375"/>
                  </a:cubicBezTo>
                  <a:cubicBezTo>
                    <a:pt x="567" y="398"/>
                    <a:pt x="666" y="412"/>
                    <a:pt x="769" y="416"/>
                  </a:cubicBezTo>
                  <a:cubicBezTo>
                    <a:pt x="775" y="432"/>
                    <a:pt x="788" y="446"/>
                    <a:pt x="804" y="452"/>
                  </a:cubicBezTo>
                  <a:lnTo>
                    <a:pt x="804" y="769"/>
                  </a:lnTo>
                  <a:close/>
                  <a:moveTo>
                    <a:pt x="882" y="372"/>
                  </a:moveTo>
                  <a:cubicBezTo>
                    <a:pt x="948" y="369"/>
                    <a:pt x="1012" y="363"/>
                    <a:pt x="1074" y="352"/>
                  </a:cubicBezTo>
                  <a:cubicBezTo>
                    <a:pt x="1074" y="348"/>
                    <a:pt x="1074" y="343"/>
                    <a:pt x="1074" y="339"/>
                  </a:cubicBezTo>
                  <a:cubicBezTo>
                    <a:pt x="1074" y="287"/>
                    <a:pt x="1100" y="240"/>
                    <a:pt x="1140" y="213"/>
                  </a:cubicBezTo>
                  <a:cubicBezTo>
                    <a:pt x="1075" y="104"/>
                    <a:pt x="995" y="32"/>
                    <a:pt x="909" y="4"/>
                  </a:cubicBezTo>
                  <a:cubicBezTo>
                    <a:pt x="889" y="2"/>
                    <a:pt x="869" y="1"/>
                    <a:pt x="848" y="0"/>
                  </a:cubicBezTo>
                  <a:cubicBezTo>
                    <a:pt x="848" y="338"/>
                    <a:pt x="848" y="338"/>
                    <a:pt x="848" y="338"/>
                  </a:cubicBezTo>
                  <a:cubicBezTo>
                    <a:pt x="864" y="344"/>
                    <a:pt x="876" y="356"/>
                    <a:pt x="882" y="372"/>
                  </a:cubicBezTo>
                  <a:close/>
                  <a:moveTo>
                    <a:pt x="1251" y="490"/>
                  </a:moveTo>
                  <a:cubicBezTo>
                    <a:pt x="1243" y="491"/>
                    <a:pt x="1235" y="492"/>
                    <a:pt x="1227" y="492"/>
                  </a:cubicBezTo>
                  <a:cubicBezTo>
                    <a:pt x="1162" y="492"/>
                    <a:pt x="1107" y="452"/>
                    <a:pt x="1084" y="395"/>
                  </a:cubicBezTo>
                  <a:cubicBezTo>
                    <a:pt x="1020" y="406"/>
                    <a:pt x="952" y="413"/>
                    <a:pt x="883" y="416"/>
                  </a:cubicBezTo>
                  <a:cubicBezTo>
                    <a:pt x="877" y="432"/>
                    <a:pt x="864" y="446"/>
                    <a:pt x="848" y="452"/>
                  </a:cubicBezTo>
                  <a:cubicBezTo>
                    <a:pt x="848" y="769"/>
                    <a:pt x="848" y="769"/>
                    <a:pt x="848" y="769"/>
                  </a:cubicBezTo>
                  <a:cubicBezTo>
                    <a:pt x="864" y="775"/>
                    <a:pt x="877" y="788"/>
                    <a:pt x="883" y="804"/>
                  </a:cubicBezTo>
                  <a:cubicBezTo>
                    <a:pt x="1256" y="804"/>
                    <a:pt x="1256" y="804"/>
                    <a:pt x="1256" y="804"/>
                  </a:cubicBezTo>
                  <a:cubicBezTo>
                    <a:pt x="1262" y="788"/>
                    <a:pt x="1274" y="776"/>
                    <a:pt x="1290" y="770"/>
                  </a:cubicBezTo>
                  <a:cubicBezTo>
                    <a:pt x="1286" y="672"/>
                    <a:pt x="1273" y="578"/>
                    <a:pt x="1251" y="490"/>
                  </a:cubicBezTo>
                  <a:close/>
                  <a:moveTo>
                    <a:pt x="589" y="848"/>
                  </a:moveTo>
                  <a:cubicBezTo>
                    <a:pt x="579" y="962"/>
                    <a:pt x="493" y="1054"/>
                    <a:pt x="382" y="1073"/>
                  </a:cubicBezTo>
                  <a:cubicBezTo>
                    <a:pt x="393" y="1136"/>
                    <a:pt x="408" y="1196"/>
                    <a:pt x="427" y="1252"/>
                  </a:cubicBezTo>
                  <a:cubicBezTo>
                    <a:pt x="446" y="1252"/>
                    <a:pt x="464" y="1262"/>
                    <a:pt x="475" y="1277"/>
                  </a:cubicBezTo>
                  <a:cubicBezTo>
                    <a:pt x="530" y="1263"/>
                    <a:pt x="588" y="1252"/>
                    <a:pt x="647" y="1245"/>
                  </a:cubicBezTo>
                  <a:cubicBezTo>
                    <a:pt x="653" y="1159"/>
                    <a:pt x="719" y="1090"/>
                    <a:pt x="804" y="1079"/>
                  </a:cubicBezTo>
                  <a:cubicBezTo>
                    <a:pt x="804" y="883"/>
                    <a:pt x="804" y="883"/>
                    <a:pt x="804" y="883"/>
                  </a:cubicBezTo>
                  <a:cubicBezTo>
                    <a:pt x="788" y="877"/>
                    <a:pt x="775" y="864"/>
                    <a:pt x="769" y="848"/>
                  </a:cubicBezTo>
                  <a:lnTo>
                    <a:pt x="589" y="848"/>
                  </a:lnTo>
                  <a:close/>
                  <a:moveTo>
                    <a:pt x="1290" y="882"/>
                  </a:moveTo>
                  <a:cubicBezTo>
                    <a:pt x="1274" y="876"/>
                    <a:pt x="1262" y="864"/>
                    <a:pt x="1256" y="848"/>
                  </a:cubicBezTo>
                  <a:cubicBezTo>
                    <a:pt x="883" y="848"/>
                    <a:pt x="883" y="848"/>
                    <a:pt x="883" y="848"/>
                  </a:cubicBezTo>
                  <a:cubicBezTo>
                    <a:pt x="877" y="864"/>
                    <a:pt x="864" y="877"/>
                    <a:pt x="848" y="883"/>
                  </a:cubicBezTo>
                  <a:cubicBezTo>
                    <a:pt x="848" y="1079"/>
                    <a:pt x="848" y="1079"/>
                    <a:pt x="848" y="1079"/>
                  </a:cubicBezTo>
                  <a:cubicBezTo>
                    <a:pt x="933" y="1090"/>
                    <a:pt x="999" y="1159"/>
                    <a:pt x="1005" y="1245"/>
                  </a:cubicBezTo>
                  <a:cubicBezTo>
                    <a:pt x="1064" y="1252"/>
                    <a:pt x="1122" y="1263"/>
                    <a:pt x="1177" y="1277"/>
                  </a:cubicBezTo>
                  <a:cubicBezTo>
                    <a:pt x="1188" y="1262"/>
                    <a:pt x="1206" y="1252"/>
                    <a:pt x="1225" y="1252"/>
                  </a:cubicBezTo>
                  <a:cubicBezTo>
                    <a:pt x="1263" y="1140"/>
                    <a:pt x="1285" y="1014"/>
                    <a:pt x="1290" y="882"/>
                  </a:cubicBezTo>
                  <a:close/>
                  <a:moveTo>
                    <a:pt x="1379" y="339"/>
                  </a:moveTo>
                  <a:cubicBezTo>
                    <a:pt x="1379" y="399"/>
                    <a:pt x="1344" y="452"/>
                    <a:pt x="1293" y="477"/>
                  </a:cubicBezTo>
                  <a:cubicBezTo>
                    <a:pt x="1316" y="568"/>
                    <a:pt x="1330" y="667"/>
                    <a:pt x="1334" y="769"/>
                  </a:cubicBezTo>
                  <a:cubicBezTo>
                    <a:pt x="1350" y="775"/>
                    <a:pt x="1363" y="788"/>
                    <a:pt x="1370" y="804"/>
                  </a:cubicBezTo>
                  <a:cubicBezTo>
                    <a:pt x="1652" y="804"/>
                    <a:pt x="1652" y="804"/>
                    <a:pt x="1652" y="804"/>
                  </a:cubicBezTo>
                  <a:cubicBezTo>
                    <a:pt x="1646" y="600"/>
                    <a:pt x="1567" y="415"/>
                    <a:pt x="1440" y="274"/>
                  </a:cubicBezTo>
                  <a:cubicBezTo>
                    <a:pt x="1419" y="285"/>
                    <a:pt x="1398" y="296"/>
                    <a:pt x="1376" y="306"/>
                  </a:cubicBezTo>
                  <a:cubicBezTo>
                    <a:pt x="1378" y="317"/>
                    <a:pt x="1379" y="328"/>
                    <a:pt x="1379" y="339"/>
                  </a:cubicBezTo>
                  <a:close/>
                  <a:moveTo>
                    <a:pt x="1151" y="1421"/>
                  </a:moveTo>
                  <a:cubicBezTo>
                    <a:pt x="1163" y="1401"/>
                    <a:pt x="1174" y="1379"/>
                    <a:pt x="1184" y="1357"/>
                  </a:cubicBezTo>
                  <a:cubicBezTo>
                    <a:pt x="1174" y="1347"/>
                    <a:pt x="1167" y="1334"/>
                    <a:pt x="1166" y="1319"/>
                  </a:cubicBezTo>
                  <a:cubicBezTo>
                    <a:pt x="1113" y="1306"/>
                    <a:pt x="1059" y="1296"/>
                    <a:pt x="1002" y="1289"/>
                  </a:cubicBezTo>
                  <a:cubicBezTo>
                    <a:pt x="988" y="1366"/>
                    <a:pt x="926" y="1425"/>
                    <a:pt x="848" y="1435"/>
                  </a:cubicBezTo>
                  <a:cubicBezTo>
                    <a:pt x="848" y="1652"/>
                    <a:pt x="848" y="1652"/>
                    <a:pt x="848" y="1652"/>
                  </a:cubicBezTo>
                  <a:cubicBezTo>
                    <a:pt x="869" y="1651"/>
                    <a:pt x="889" y="1650"/>
                    <a:pt x="909" y="1648"/>
                  </a:cubicBezTo>
                  <a:cubicBezTo>
                    <a:pt x="1000" y="1618"/>
                    <a:pt x="1083" y="1540"/>
                    <a:pt x="1151" y="1421"/>
                  </a:cubicBezTo>
                  <a:close/>
                  <a:moveTo>
                    <a:pt x="1180" y="193"/>
                  </a:moveTo>
                  <a:cubicBezTo>
                    <a:pt x="1195" y="189"/>
                    <a:pt x="1210" y="186"/>
                    <a:pt x="1227" y="186"/>
                  </a:cubicBezTo>
                  <a:cubicBezTo>
                    <a:pt x="1284" y="186"/>
                    <a:pt x="1334" y="218"/>
                    <a:pt x="1360" y="265"/>
                  </a:cubicBezTo>
                  <a:cubicBezTo>
                    <a:pt x="1377" y="257"/>
                    <a:pt x="1393" y="249"/>
                    <a:pt x="1408" y="241"/>
                  </a:cubicBezTo>
                  <a:cubicBezTo>
                    <a:pt x="1308" y="141"/>
                    <a:pt x="1183" y="67"/>
                    <a:pt x="1042" y="29"/>
                  </a:cubicBezTo>
                  <a:cubicBezTo>
                    <a:pt x="1093" y="69"/>
                    <a:pt x="1139" y="125"/>
                    <a:pt x="1180" y="193"/>
                  </a:cubicBezTo>
                  <a:close/>
                  <a:moveTo>
                    <a:pt x="1274" y="1352"/>
                  </a:moveTo>
                  <a:cubicBezTo>
                    <a:pt x="1262" y="1365"/>
                    <a:pt x="1245" y="1374"/>
                    <a:pt x="1227" y="1374"/>
                  </a:cubicBezTo>
                  <a:cubicBezTo>
                    <a:pt x="1226" y="1374"/>
                    <a:pt x="1225" y="1374"/>
                    <a:pt x="1225" y="1374"/>
                  </a:cubicBezTo>
                  <a:cubicBezTo>
                    <a:pt x="1214" y="1398"/>
                    <a:pt x="1202" y="1421"/>
                    <a:pt x="1189" y="1443"/>
                  </a:cubicBezTo>
                  <a:cubicBezTo>
                    <a:pt x="1146" y="1519"/>
                    <a:pt x="1096" y="1579"/>
                    <a:pt x="1042" y="1623"/>
                  </a:cubicBezTo>
                  <a:cubicBezTo>
                    <a:pt x="1182" y="1585"/>
                    <a:pt x="1308" y="1511"/>
                    <a:pt x="1408" y="1411"/>
                  </a:cubicBezTo>
                  <a:cubicBezTo>
                    <a:pt x="1367" y="1389"/>
                    <a:pt x="1321" y="1369"/>
                    <a:pt x="1274" y="1352"/>
                  </a:cubicBezTo>
                  <a:close/>
                  <a:moveTo>
                    <a:pt x="463" y="1443"/>
                  </a:moveTo>
                  <a:cubicBezTo>
                    <a:pt x="450" y="1421"/>
                    <a:pt x="438" y="1398"/>
                    <a:pt x="427" y="1374"/>
                  </a:cubicBezTo>
                  <a:cubicBezTo>
                    <a:pt x="427" y="1374"/>
                    <a:pt x="426" y="1374"/>
                    <a:pt x="426" y="1374"/>
                  </a:cubicBezTo>
                  <a:cubicBezTo>
                    <a:pt x="407" y="1374"/>
                    <a:pt x="390" y="1365"/>
                    <a:pt x="378" y="1352"/>
                  </a:cubicBezTo>
                  <a:cubicBezTo>
                    <a:pt x="331" y="1369"/>
                    <a:pt x="285" y="1389"/>
                    <a:pt x="244" y="1411"/>
                  </a:cubicBezTo>
                  <a:cubicBezTo>
                    <a:pt x="344" y="1511"/>
                    <a:pt x="470" y="1585"/>
                    <a:pt x="610" y="1623"/>
                  </a:cubicBezTo>
                  <a:cubicBezTo>
                    <a:pt x="556" y="1579"/>
                    <a:pt x="506" y="1519"/>
                    <a:pt x="463" y="1443"/>
                  </a:cubicBezTo>
                  <a:close/>
                  <a:moveTo>
                    <a:pt x="650" y="1289"/>
                  </a:moveTo>
                  <a:cubicBezTo>
                    <a:pt x="593" y="1296"/>
                    <a:pt x="539" y="1306"/>
                    <a:pt x="486" y="1319"/>
                  </a:cubicBezTo>
                  <a:cubicBezTo>
                    <a:pt x="485" y="1334"/>
                    <a:pt x="478" y="1347"/>
                    <a:pt x="468" y="1357"/>
                  </a:cubicBezTo>
                  <a:cubicBezTo>
                    <a:pt x="478" y="1379"/>
                    <a:pt x="489" y="1401"/>
                    <a:pt x="501" y="1421"/>
                  </a:cubicBezTo>
                  <a:cubicBezTo>
                    <a:pt x="569" y="1540"/>
                    <a:pt x="652" y="1618"/>
                    <a:pt x="743" y="1648"/>
                  </a:cubicBezTo>
                  <a:cubicBezTo>
                    <a:pt x="763" y="1650"/>
                    <a:pt x="783" y="1651"/>
                    <a:pt x="804" y="1652"/>
                  </a:cubicBezTo>
                  <a:cubicBezTo>
                    <a:pt x="804" y="1435"/>
                    <a:pt x="804" y="1435"/>
                    <a:pt x="804" y="1435"/>
                  </a:cubicBezTo>
                  <a:cubicBezTo>
                    <a:pt x="726" y="1425"/>
                    <a:pt x="664" y="1366"/>
                    <a:pt x="650" y="1289"/>
                  </a:cubicBezTo>
                  <a:close/>
                  <a:moveTo>
                    <a:pt x="1370" y="848"/>
                  </a:moveTo>
                  <a:cubicBezTo>
                    <a:pt x="1363" y="864"/>
                    <a:pt x="1350" y="877"/>
                    <a:pt x="1334" y="883"/>
                  </a:cubicBezTo>
                  <a:cubicBezTo>
                    <a:pt x="1329" y="1020"/>
                    <a:pt x="1306" y="1151"/>
                    <a:pt x="1267" y="1267"/>
                  </a:cubicBezTo>
                  <a:cubicBezTo>
                    <a:pt x="1279" y="1278"/>
                    <a:pt x="1287" y="1293"/>
                    <a:pt x="1287" y="1310"/>
                  </a:cubicBezTo>
                  <a:cubicBezTo>
                    <a:pt x="1342" y="1329"/>
                    <a:pt x="1393" y="1352"/>
                    <a:pt x="1440" y="1378"/>
                  </a:cubicBezTo>
                  <a:cubicBezTo>
                    <a:pt x="1567" y="1237"/>
                    <a:pt x="1646" y="1052"/>
                    <a:pt x="1652" y="848"/>
                  </a:cubicBezTo>
                  <a:lnTo>
                    <a:pt x="1370" y="848"/>
                  </a:lnTo>
                  <a:close/>
                  <a:moveTo>
                    <a:pt x="90" y="804"/>
                  </a:moveTo>
                  <a:cubicBezTo>
                    <a:pt x="101" y="676"/>
                    <a:pt x="208" y="576"/>
                    <a:pt x="338" y="575"/>
                  </a:cubicBezTo>
                  <a:cubicBezTo>
                    <a:pt x="349" y="509"/>
                    <a:pt x="365" y="445"/>
                    <a:pt x="385" y="385"/>
                  </a:cubicBezTo>
                  <a:cubicBezTo>
                    <a:pt x="373" y="374"/>
                    <a:pt x="365" y="359"/>
                    <a:pt x="365" y="342"/>
                  </a:cubicBezTo>
                  <a:cubicBezTo>
                    <a:pt x="310" y="323"/>
                    <a:pt x="259" y="300"/>
                    <a:pt x="212" y="274"/>
                  </a:cubicBezTo>
                  <a:cubicBezTo>
                    <a:pt x="85" y="415"/>
                    <a:pt x="6" y="600"/>
                    <a:pt x="0" y="804"/>
                  </a:cubicBezTo>
                  <a:lnTo>
                    <a:pt x="90" y="804"/>
                  </a:lnTo>
                  <a:close/>
                  <a:moveTo>
                    <a:pt x="385" y="1267"/>
                  </a:moveTo>
                  <a:cubicBezTo>
                    <a:pt x="365" y="1207"/>
                    <a:pt x="349" y="1143"/>
                    <a:pt x="338" y="1077"/>
                  </a:cubicBezTo>
                  <a:cubicBezTo>
                    <a:pt x="208" y="1076"/>
                    <a:pt x="101" y="976"/>
                    <a:pt x="90" y="848"/>
                  </a:cubicBezTo>
                  <a:cubicBezTo>
                    <a:pt x="0" y="848"/>
                    <a:pt x="0" y="848"/>
                    <a:pt x="0" y="848"/>
                  </a:cubicBezTo>
                  <a:cubicBezTo>
                    <a:pt x="6" y="1052"/>
                    <a:pt x="85" y="1237"/>
                    <a:pt x="212" y="1378"/>
                  </a:cubicBezTo>
                  <a:cubicBezTo>
                    <a:pt x="259" y="1352"/>
                    <a:pt x="310" y="1329"/>
                    <a:pt x="365" y="1310"/>
                  </a:cubicBezTo>
                  <a:cubicBezTo>
                    <a:pt x="365" y="1293"/>
                    <a:pt x="373" y="1278"/>
                    <a:pt x="385" y="1267"/>
                  </a:cubicBezTo>
                  <a:close/>
                  <a:moveTo>
                    <a:pt x="378" y="300"/>
                  </a:moveTo>
                  <a:cubicBezTo>
                    <a:pt x="390" y="287"/>
                    <a:pt x="407" y="278"/>
                    <a:pt x="426" y="278"/>
                  </a:cubicBezTo>
                  <a:cubicBezTo>
                    <a:pt x="426" y="278"/>
                    <a:pt x="427" y="278"/>
                    <a:pt x="427" y="278"/>
                  </a:cubicBezTo>
                  <a:cubicBezTo>
                    <a:pt x="438" y="254"/>
                    <a:pt x="450" y="231"/>
                    <a:pt x="463" y="209"/>
                  </a:cubicBezTo>
                  <a:cubicBezTo>
                    <a:pt x="506" y="133"/>
                    <a:pt x="556" y="73"/>
                    <a:pt x="610" y="29"/>
                  </a:cubicBezTo>
                  <a:cubicBezTo>
                    <a:pt x="470" y="67"/>
                    <a:pt x="344" y="141"/>
                    <a:pt x="244" y="241"/>
                  </a:cubicBezTo>
                  <a:cubicBezTo>
                    <a:pt x="285" y="263"/>
                    <a:pt x="331" y="283"/>
                    <a:pt x="378" y="300"/>
                  </a:cubicBezTo>
                  <a:close/>
                  <a:moveTo>
                    <a:pt x="804" y="0"/>
                  </a:moveTo>
                  <a:cubicBezTo>
                    <a:pt x="783" y="1"/>
                    <a:pt x="763" y="2"/>
                    <a:pt x="743" y="4"/>
                  </a:cubicBezTo>
                  <a:cubicBezTo>
                    <a:pt x="652" y="34"/>
                    <a:pt x="569" y="112"/>
                    <a:pt x="501" y="231"/>
                  </a:cubicBezTo>
                  <a:cubicBezTo>
                    <a:pt x="489" y="251"/>
                    <a:pt x="478" y="273"/>
                    <a:pt x="468" y="295"/>
                  </a:cubicBezTo>
                  <a:cubicBezTo>
                    <a:pt x="478" y="305"/>
                    <a:pt x="485" y="318"/>
                    <a:pt x="486" y="333"/>
                  </a:cubicBezTo>
                  <a:cubicBezTo>
                    <a:pt x="575" y="355"/>
                    <a:pt x="671" y="368"/>
                    <a:pt x="770" y="372"/>
                  </a:cubicBezTo>
                  <a:cubicBezTo>
                    <a:pt x="776" y="356"/>
                    <a:pt x="788" y="344"/>
                    <a:pt x="804" y="338"/>
                  </a:cubicBezTo>
                  <a:lnTo>
                    <a:pt x="804"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6">
              <a:extLst>
                <a:ext uri="{FF2B5EF4-FFF2-40B4-BE49-F238E27FC236}">
                  <a16:creationId xmlns:a16="http://schemas.microsoft.com/office/drawing/2014/main" id="{BCC2844C-A527-4016-A54F-FD33443F2EDA}"/>
                </a:ext>
              </a:extLst>
            </p:cNvPr>
            <p:cNvSpPr>
              <a:spLocks noEditPoints="1"/>
            </p:cNvSpPr>
            <p:nvPr/>
          </p:nvSpPr>
          <p:spPr bwMode="auto">
            <a:xfrm>
              <a:off x="2130" y="446"/>
              <a:ext cx="3424" cy="3428"/>
            </a:xfrm>
            <a:custGeom>
              <a:avLst/>
              <a:gdLst>
                <a:gd name="T0" fmla="*/ 268 w 1828"/>
                <a:gd name="T1" fmla="*/ 1560 h 1828"/>
                <a:gd name="T2" fmla="*/ 268 w 1828"/>
                <a:gd name="T3" fmla="*/ 268 h 1828"/>
                <a:gd name="T4" fmla="*/ 1560 w 1828"/>
                <a:gd name="T5" fmla="*/ 268 h 1828"/>
                <a:gd name="T6" fmla="*/ 1560 w 1828"/>
                <a:gd name="T7" fmla="*/ 1560 h 1828"/>
                <a:gd name="T8" fmla="*/ 914 w 1828"/>
                <a:gd name="T9" fmla="*/ 44 h 1828"/>
                <a:gd name="T10" fmla="*/ 914 w 1828"/>
                <a:gd name="T11" fmla="*/ 1784 h 1828"/>
                <a:gd name="T12" fmla="*/ 914 w 1828"/>
                <a:gd name="T13" fmla="*/ 44 h 1828"/>
                <a:gd name="T14" fmla="*/ 989 w 1828"/>
                <a:gd name="T15" fmla="*/ 1335 h 1828"/>
                <a:gd name="T16" fmla="*/ 979 w 1828"/>
                <a:gd name="T17" fmla="*/ 1311 h 1828"/>
                <a:gd name="T18" fmla="*/ 973 w 1828"/>
                <a:gd name="T19" fmla="*/ 1277 h 1828"/>
                <a:gd name="T20" fmla="*/ 976 w 1828"/>
                <a:gd name="T21" fmla="*/ 1277 h 1828"/>
                <a:gd name="T22" fmla="*/ 904 w 1828"/>
                <a:gd name="T23" fmla="*/ 1237 h 1828"/>
                <a:gd name="T24" fmla="*/ 853 w 1828"/>
                <a:gd name="T25" fmla="*/ 1388 h 1828"/>
                <a:gd name="T26" fmla="*/ 856 w 1828"/>
                <a:gd name="T27" fmla="*/ 1440 h 1828"/>
                <a:gd name="T28" fmla="*/ 931 w 1828"/>
                <a:gd name="T29" fmla="*/ 1453 h 1828"/>
                <a:gd name="T30" fmla="*/ 936 w 1828"/>
                <a:gd name="T31" fmla="*/ 1416 h 1828"/>
                <a:gd name="T32" fmla="*/ 981 w 1828"/>
                <a:gd name="T33" fmla="*/ 1392 h 1828"/>
                <a:gd name="T34" fmla="*/ 980 w 1828"/>
                <a:gd name="T35" fmla="*/ 1365 h 1828"/>
                <a:gd name="T36" fmla="*/ 990 w 1828"/>
                <a:gd name="T37" fmla="*/ 1337 h 1828"/>
                <a:gd name="T38" fmla="*/ 359 w 1828"/>
                <a:gd name="T39" fmla="*/ 1052 h 1828"/>
                <a:gd name="T40" fmla="*/ 444 w 1828"/>
                <a:gd name="T41" fmla="*/ 1078 h 1828"/>
                <a:gd name="T42" fmla="*/ 458 w 1828"/>
                <a:gd name="T43" fmla="*/ 1070 h 1828"/>
                <a:gd name="T44" fmla="*/ 481 w 1828"/>
                <a:gd name="T45" fmla="*/ 1016 h 1828"/>
                <a:gd name="T46" fmla="*/ 528 w 1828"/>
                <a:gd name="T47" fmla="*/ 967 h 1828"/>
                <a:gd name="T48" fmla="*/ 558 w 1828"/>
                <a:gd name="T49" fmla="*/ 929 h 1828"/>
                <a:gd name="T50" fmla="*/ 532 w 1828"/>
                <a:gd name="T51" fmla="*/ 880 h 1828"/>
                <a:gd name="T52" fmla="*/ 519 w 1828"/>
                <a:gd name="T53" fmla="*/ 811 h 1828"/>
                <a:gd name="T54" fmla="*/ 417 w 1828"/>
                <a:gd name="T55" fmla="*/ 750 h 1828"/>
                <a:gd name="T56" fmla="*/ 357 w 1828"/>
                <a:gd name="T57" fmla="*/ 1016 h 1828"/>
                <a:gd name="T58" fmla="*/ 1258 w 1828"/>
                <a:gd name="T59" fmla="*/ 444 h 1828"/>
                <a:gd name="T60" fmla="*/ 1257 w 1828"/>
                <a:gd name="T61" fmla="*/ 467 h 1828"/>
                <a:gd name="T62" fmla="*/ 1296 w 1828"/>
                <a:gd name="T63" fmla="*/ 487 h 1828"/>
                <a:gd name="T64" fmla="*/ 1300 w 1828"/>
                <a:gd name="T65" fmla="*/ 519 h 1828"/>
                <a:gd name="T66" fmla="*/ 1364 w 1828"/>
                <a:gd name="T67" fmla="*/ 508 h 1828"/>
                <a:gd name="T68" fmla="*/ 1367 w 1828"/>
                <a:gd name="T69" fmla="*/ 464 h 1828"/>
                <a:gd name="T70" fmla="*/ 1323 w 1828"/>
                <a:gd name="T71" fmla="*/ 335 h 1828"/>
                <a:gd name="T72" fmla="*/ 1262 w 1828"/>
                <a:gd name="T73" fmla="*/ 369 h 1828"/>
                <a:gd name="T74" fmla="*/ 1264 w 1828"/>
                <a:gd name="T75" fmla="*/ 369 h 1828"/>
                <a:gd name="T76" fmla="*/ 1259 w 1828"/>
                <a:gd name="T77" fmla="*/ 398 h 1828"/>
                <a:gd name="T78" fmla="*/ 1251 w 1828"/>
                <a:gd name="T79" fmla="*/ 419 h 1828"/>
                <a:gd name="T80" fmla="*/ 1242 w 1828"/>
                <a:gd name="T81" fmla="*/ 435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moveTo>
                    <a:pt x="990" y="1337"/>
                  </a:moveTo>
                  <a:cubicBezTo>
                    <a:pt x="990" y="1336"/>
                    <a:pt x="989" y="1336"/>
                    <a:pt x="989" y="1335"/>
                  </a:cubicBezTo>
                  <a:cubicBezTo>
                    <a:pt x="986" y="1332"/>
                    <a:pt x="983" y="1327"/>
                    <a:pt x="981" y="1319"/>
                  </a:cubicBezTo>
                  <a:cubicBezTo>
                    <a:pt x="980" y="1317"/>
                    <a:pt x="980" y="1314"/>
                    <a:pt x="979" y="1311"/>
                  </a:cubicBezTo>
                  <a:cubicBezTo>
                    <a:pt x="978" y="1307"/>
                    <a:pt x="977" y="1303"/>
                    <a:pt x="976" y="1299"/>
                  </a:cubicBezTo>
                  <a:cubicBezTo>
                    <a:pt x="975" y="1295"/>
                    <a:pt x="974" y="1283"/>
                    <a:pt x="973" y="1277"/>
                  </a:cubicBezTo>
                  <a:cubicBezTo>
                    <a:pt x="974" y="1277"/>
                    <a:pt x="975" y="1277"/>
                    <a:pt x="976" y="1277"/>
                  </a:cubicBezTo>
                  <a:cubicBezTo>
                    <a:pt x="976" y="1277"/>
                    <a:pt x="976" y="1277"/>
                    <a:pt x="976" y="1277"/>
                  </a:cubicBezTo>
                  <a:cubicBezTo>
                    <a:pt x="979" y="1266"/>
                    <a:pt x="994" y="1249"/>
                    <a:pt x="989" y="1249"/>
                  </a:cubicBezTo>
                  <a:cubicBezTo>
                    <a:pt x="941" y="1250"/>
                    <a:pt x="956" y="1237"/>
                    <a:pt x="904" y="1237"/>
                  </a:cubicBezTo>
                  <a:cubicBezTo>
                    <a:pt x="859" y="1237"/>
                    <a:pt x="836" y="1264"/>
                    <a:pt x="825" y="1287"/>
                  </a:cubicBezTo>
                  <a:cubicBezTo>
                    <a:pt x="805" y="1329"/>
                    <a:pt x="837" y="1371"/>
                    <a:pt x="853" y="1388"/>
                  </a:cubicBezTo>
                  <a:cubicBezTo>
                    <a:pt x="853" y="1436"/>
                    <a:pt x="853" y="1436"/>
                    <a:pt x="853" y="1436"/>
                  </a:cubicBezTo>
                  <a:cubicBezTo>
                    <a:pt x="853" y="1438"/>
                    <a:pt x="854" y="1439"/>
                    <a:pt x="856" y="1440"/>
                  </a:cubicBezTo>
                  <a:cubicBezTo>
                    <a:pt x="888" y="1453"/>
                    <a:pt x="928" y="1453"/>
                    <a:pt x="931" y="1453"/>
                  </a:cubicBezTo>
                  <a:cubicBezTo>
                    <a:pt x="931" y="1453"/>
                    <a:pt x="931" y="1453"/>
                    <a:pt x="931" y="1453"/>
                  </a:cubicBezTo>
                  <a:cubicBezTo>
                    <a:pt x="934" y="1453"/>
                    <a:pt x="936" y="1451"/>
                    <a:pt x="936" y="1449"/>
                  </a:cubicBezTo>
                  <a:cubicBezTo>
                    <a:pt x="936" y="1416"/>
                    <a:pt x="936" y="1416"/>
                    <a:pt x="936" y="1416"/>
                  </a:cubicBezTo>
                  <a:cubicBezTo>
                    <a:pt x="956" y="1418"/>
                    <a:pt x="970" y="1416"/>
                    <a:pt x="975" y="1413"/>
                  </a:cubicBezTo>
                  <a:cubicBezTo>
                    <a:pt x="980" y="1411"/>
                    <a:pt x="980" y="1404"/>
                    <a:pt x="981" y="1392"/>
                  </a:cubicBezTo>
                  <a:cubicBezTo>
                    <a:pt x="981" y="1391"/>
                    <a:pt x="981" y="1391"/>
                    <a:pt x="981" y="1391"/>
                  </a:cubicBezTo>
                  <a:cubicBezTo>
                    <a:pt x="982" y="1383"/>
                    <a:pt x="981" y="1371"/>
                    <a:pt x="980" y="1365"/>
                  </a:cubicBezTo>
                  <a:cubicBezTo>
                    <a:pt x="995" y="1364"/>
                    <a:pt x="998" y="1357"/>
                    <a:pt x="999" y="1354"/>
                  </a:cubicBezTo>
                  <a:cubicBezTo>
                    <a:pt x="1001" y="1349"/>
                    <a:pt x="996" y="1343"/>
                    <a:pt x="990" y="1337"/>
                  </a:cubicBezTo>
                  <a:close/>
                  <a:moveTo>
                    <a:pt x="357" y="1016"/>
                  </a:moveTo>
                  <a:cubicBezTo>
                    <a:pt x="359" y="1052"/>
                    <a:pt x="359" y="1052"/>
                    <a:pt x="359" y="1052"/>
                  </a:cubicBezTo>
                  <a:cubicBezTo>
                    <a:pt x="359" y="1055"/>
                    <a:pt x="361" y="1057"/>
                    <a:pt x="363" y="1058"/>
                  </a:cubicBezTo>
                  <a:cubicBezTo>
                    <a:pt x="392" y="1076"/>
                    <a:pt x="429" y="1078"/>
                    <a:pt x="444" y="1078"/>
                  </a:cubicBezTo>
                  <a:cubicBezTo>
                    <a:pt x="448" y="1078"/>
                    <a:pt x="451" y="1078"/>
                    <a:pt x="451" y="1078"/>
                  </a:cubicBezTo>
                  <a:cubicBezTo>
                    <a:pt x="455" y="1077"/>
                    <a:pt x="458" y="1074"/>
                    <a:pt x="458" y="1070"/>
                  </a:cubicBezTo>
                  <a:cubicBezTo>
                    <a:pt x="458" y="1015"/>
                    <a:pt x="458" y="1015"/>
                    <a:pt x="458" y="1015"/>
                  </a:cubicBezTo>
                  <a:cubicBezTo>
                    <a:pt x="466" y="1016"/>
                    <a:pt x="476" y="1016"/>
                    <a:pt x="481" y="1016"/>
                  </a:cubicBezTo>
                  <a:cubicBezTo>
                    <a:pt x="510" y="1016"/>
                    <a:pt x="517" y="1012"/>
                    <a:pt x="521" y="1009"/>
                  </a:cubicBezTo>
                  <a:cubicBezTo>
                    <a:pt x="525" y="1005"/>
                    <a:pt x="528" y="997"/>
                    <a:pt x="528" y="967"/>
                  </a:cubicBezTo>
                  <a:cubicBezTo>
                    <a:pt x="528" y="958"/>
                    <a:pt x="528" y="950"/>
                    <a:pt x="528" y="944"/>
                  </a:cubicBezTo>
                  <a:cubicBezTo>
                    <a:pt x="546" y="944"/>
                    <a:pt x="555" y="935"/>
                    <a:pt x="558" y="929"/>
                  </a:cubicBezTo>
                  <a:cubicBezTo>
                    <a:pt x="561" y="921"/>
                    <a:pt x="552" y="908"/>
                    <a:pt x="546" y="902"/>
                  </a:cubicBezTo>
                  <a:cubicBezTo>
                    <a:pt x="540" y="896"/>
                    <a:pt x="535" y="887"/>
                    <a:pt x="532" y="880"/>
                  </a:cubicBezTo>
                  <a:cubicBezTo>
                    <a:pt x="530" y="876"/>
                    <a:pt x="529" y="859"/>
                    <a:pt x="530" y="848"/>
                  </a:cubicBezTo>
                  <a:cubicBezTo>
                    <a:pt x="531" y="828"/>
                    <a:pt x="522" y="815"/>
                    <a:pt x="519" y="811"/>
                  </a:cubicBezTo>
                  <a:cubicBezTo>
                    <a:pt x="521" y="808"/>
                    <a:pt x="522" y="805"/>
                    <a:pt x="524" y="802"/>
                  </a:cubicBezTo>
                  <a:cubicBezTo>
                    <a:pt x="527" y="786"/>
                    <a:pt x="495" y="750"/>
                    <a:pt x="417" y="750"/>
                  </a:cubicBezTo>
                  <a:cubicBezTo>
                    <a:pt x="349" y="750"/>
                    <a:pt x="308" y="787"/>
                    <a:pt x="291" y="823"/>
                  </a:cubicBezTo>
                  <a:cubicBezTo>
                    <a:pt x="234" y="941"/>
                    <a:pt x="310" y="997"/>
                    <a:pt x="357" y="1016"/>
                  </a:cubicBezTo>
                  <a:close/>
                  <a:moveTo>
                    <a:pt x="1242" y="435"/>
                  </a:moveTo>
                  <a:cubicBezTo>
                    <a:pt x="1242" y="437"/>
                    <a:pt x="1246" y="444"/>
                    <a:pt x="1258" y="444"/>
                  </a:cubicBezTo>
                  <a:cubicBezTo>
                    <a:pt x="1258" y="450"/>
                    <a:pt x="1257" y="460"/>
                    <a:pt x="1257" y="466"/>
                  </a:cubicBezTo>
                  <a:cubicBezTo>
                    <a:pt x="1257" y="467"/>
                    <a:pt x="1257" y="467"/>
                    <a:pt x="1257" y="467"/>
                  </a:cubicBezTo>
                  <a:cubicBezTo>
                    <a:pt x="1258" y="477"/>
                    <a:pt x="1258" y="483"/>
                    <a:pt x="1263" y="485"/>
                  </a:cubicBezTo>
                  <a:cubicBezTo>
                    <a:pt x="1266" y="487"/>
                    <a:pt x="1279" y="489"/>
                    <a:pt x="1296" y="487"/>
                  </a:cubicBezTo>
                  <a:cubicBezTo>
                    <a:pt x="1296" y="515"/>
                    <a:pt x="1296" y="515"/>
                    <a:pt x="1296" y="515"/>
                  </a:cubicBezTo>
                  <a:cubicBezTo>
                    <a:pt x="1296" y="518"/>
                    <a:pt x="1297" y="519"/>
                    <a:pt x="1300" y="519"/>
                  </a:cubicBezTo>
                  <a:cubicBezTo>
                    <a:pt x="1300" y="519"/>
                    <a:pt x="1300" y="519"/>
                    <a:pt x="1300" y="519"/>
                  </a:cubicBezTo>
                  <a:cubicBezTo>
                    <a:pt x="1302" y="519"/>
                    <a:pt x="1337" y="519"/>
                    <a:pt x="1364" y="508"/>
                  </a:cubicBezTo>
                  <a:cubicBezTo>
                    <a:pt x="1366" y="508"/>
                    <a:pt x="1367" y="506"/>
                    <a:pt x="1367" y="504"/>
                  </a:cubicBezTo>
                  <a:cubicBezTo>
                    <a:pt x="1367" y="464"/>
                    <a:pt x="1367" y="464"/>
                    <a:pt x="1367" y="464"/>
                  </a:cubicBezTo>
                  <a:cubicBezTo>
                    <a:pt x="1380" y="449"/>
                    <a:pt x="1408" y="414"/>
                    <a:pt x="1391" y="378"/>
                  </a:cubicBezTo>
                  <a:cubicBezTo>
                    <a:pt x="1381" y="358"/>
                    <a:pt x="1362" y="335"/>
                    <a:pt x="1323" y="335"/>
                  </a:cubicBezTo>
                  <a:cubicBezTo>
                    <a:pt x="1279" y="335"/>
                    <a:pt x="1292" y="346"/>
                    <a:pt x="1251" y="345"/>
                  </a:cubicBezTo>
                  <a:cubicBezTo>
                    <a:pt x="1246" y="345"/>
                    <a:pt x="1259" y="360"/>
                    <a:pt x="1262" y="369"/>
                  </a:cubicBezTo>
                  <a:cubicBezTo>
                    <a:pt x="1262" y="369"/>
                    <a:pt x="1262" y="369"/>
                    <a:pt x="1262" y="369"/>
                  </a:cubicBezTo>
                  <a:cubicBezTo>
                    <a:pt x="1262" y="369"/>
                    <a:pt x="1263" y="369"/>
                    <a:pt x="1264" y="369"/>
                  </a:cubicBezTo>
                  <a:cubicBezTo>
                    <a:pt x="1264" y="374"/>
                    <a:pt x="1263" y="384"/>
                    <a:pt x="1262" y="388"/>
                  </a:cubicBezTo>
                  <a:cubicBezTo>
                    <a:pt x="1261" y="391"/>
                    <a:pt x="1260" y="395"/>
                    <a:pt x="1259" y="398"/>
                  </a:cubicBezTo>
                  <a:cubicBezTo>
                    <a:pt x="1259" y="401"/>
                    <a:pt x="1258" y="404"/>
                    <a:pt x="1257" y="405"/>
                  </a:cubicBezTo>
                  <a:cubicBezTo>
                    <a:pt x="1255" y="411"/>
                    <a:pt x="1253" y="416"/>
                    <a:pt x="1251" y="419"/>
                  </a:cubicBezTo>
                  <a:cubicBezTo>
                    <a:pt x="1250" y="419"/>
                    <a:pt x="1250" y="420"/>
                    <a:pt x="1249" y="420"/>
                  </a:cubicBezTo>
                  <a:cubicBezTo>
                    <a:pt x="1244" y="425"/>
                    <a:pt x="1240" y="430"/>
                    <a:pt x="1242" y="43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9" name="bcgIcons_City ">
            <a:extLst>
              <a:ext uri="{FF2B5EF4-FFF2-40B4-BE49-F238E27FC236}">
                <a16:creationId xmlns:a16="http://schemas.microsoft.com/office/drawing/2014/main" id="{62834717-C7E2-4B23-AD89-E3A7ABC9701F}"/>
              </a:ext>
            </a:extLst>
          </p:cNvPr>
          <p:cNvGrpSpPr>
            <a:grpSpLocks noChangeAspect="1"/>
          </p:cNvGrpSpPr>
          <p:nvPr/>
        </p:nvGrpSpPr>
        <p:grpSpPr>
          <a:xfrm>
            <a:off x="10309536" y="5126424"/>
            <a:ext cx="394021" cy="394021"/>
            <a:chOff x="5273675" y="2606675"/>
            <a:chExt cx="1644650" cy="1644650"/>
          </a:xfrm>
        </p:grpSpPr>
        <p:sp>
          <p:nvSpPr>
            <p:cNvPr id="110" name="AutoShape 3">
              <a:extLst>
                <a:ext uri="{FF2B5EF4-FFF2-40B4-BE49-F238E27FC236}">
                  <a16:creationId xmlns:a16="http://schemas.microsoft.com/office/drawing/2014/main" id="{34E3D745-1941-46AE-85BA-D886EFE329A6}"/>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2" name="Group 111">
              <a:extLst>
                <a:ext uri="{FF2B5EF4-FFF2-40B4-BE49-F238E27FC236}">
                  <a16:creationId xmlns:a16="http://schemas.microsoft.com/office/drawing/2014/main" id="{21F2D112-442A-42CD-8D0C-290B9A4CCEB9}"/>
                </a:ext>
              </a:extLst>
            </p:cNvPr>
            <p:cNvGrpSpPr/>
            <p:nvPr/>
          </p:nvGrpSpPr>
          <p:grpSpPr>
            <a:xfrm>
              <a:off x="5445125" y="2725738"/>
              <a:ext cx="1303338" cy="1355725"/>
              <a:chOff x="5445125" y="2725738"/>
              <a:chExt cx="1303338" cy="1355725"/>
            </a:xfrm>
          </p:grpSpPr>
          <p:sp>
            <p:nvSpPr>
              <p:cNvPr id="113" name="Freeform 13">
                <a:extLst>
                  <a:ext uri="{FF2B5EF4-FFF2-40B4-BE49-F238E27FC236}">
                    <a16:creationId xmlns:a16="http://schemas.microsoft.com/office/drawing/2014/main" id="{A2C64436-4D7E-4293-B0E7-B497225252D6}"/>
                  </a:ext>
                </a:extLst>
              </p:cNvPr>
              <p:cNvSpPr>
                <a:spLocks/>
              </p:cNvSpPr>
              <p:nvPr/>
            </p:nvSpPr>
            <p:spPr bwMode="auto">
              <a:xfrm>
                <a:off x="5445125" y="3613150"/>
                <a:ext cx="1303338" cy="468313"/>
              </a:xfrm>
              <a:custGeom>
                <a:avLst/>
                <a:gdLst>
                  <a:gd name="connsiteX0" fmla="*/ 15703 w 1303338"/>
                  <a:gd name="connsiteY0" fmla="*/ 434975 h 468313"/>
                  <a:gd name="connsiteX1" fmla="*/ 77087 w 1303338"/>
                  <a:gd name="connsiteY1" fmla="*/ 434975 h 468313"/>
                  <a:gd name="connsiteX2" fmla="*/ 92790 w 1303338"/>
                  <a:gd name="connsiteY2" fmla="*/ 434975 h 468313"/>
                  <a:gd name="connsiteX3" fmla="*/ 108493 w 1303338"/>
                  <a:gd name="connsiteY3" fmla="*/ 434975 h 468313"/>
                  <a:gd name="connsiteX4" fmla="*/ 182011 w 1303338"/>
                  <a:gd name="connsiteY4" fmla="*/ 434975 h 468313"/>
                  <a:gd name="connsiteX5" fmla="*/ 213416 w 1303338"/>
                  <a:gd name="connsiteY5" fmla="*/ 434975 h 468313"/>
                  <a:gd name="connsiteX6" fmla="*/ 214844 w 1303338"/>
                  <a:gd name="connsiteY6" fmla="*/ 434975 h 468313"/>
                  <a:gd name="connsiteX7" fmla="*/ 229119 w 1303338"/>
                  <a:gd name="connsiteY7" fmla="*/ 434975 h 468313"/>
                  <a:gd name="connsiteX8" fmla="*/ 230547 w 1303338"/>
                  <a:gd name="connsiteY8" fmla="*/ 434975 h 468313"/>
                  <a:gd name="connsiteX9" fmla="*/ 246964 w 1303338"/>
                  <a:gd name="connsiteY9" fmla="*/ 434975 h 468313"/>
                  <a:gd name="connsiteX10" fmla="*/ 352601 w 1303338"/>
                  <a:gd name="connsiteY10" fmla="*/ 434975 h 468313"/>
                  <a:gd name="connsiteX11" fmla="*/ 368304 w 1303338"/>
                  <a:gd name="connsiteY11" fmla="*/ 434975 h 468313"/>
                  <a:gd name="connsiteX12" fmla="*/ 398996 w 1303338"/>
                  <a:gd name="connsiteY12" fmla="*/ 434975 h 468313"/>
                  <a:gd name="connsiteX13" fmla="*/ 1066368 w 1303338"/>
                  <a:gd name="connsiteY13" fmla="*/ 434975 h 468313"/>
                  <a:gd name="connsiteX14" fmla="*/ 1097060 w 1303338"/>
                  <a:gd name="connsiteY14" fmla="*/ 434975 h 468313"/>
                  <a:gd name="connsiteX15" fmla="*/ 1112762 w 1303338"/>
                  <a:gd name="connsiteY15" fmla="*/ 434975 h 468313"/>
                  <a:gd name="connsiteX16" fmla="*/ 1236244 w 1303338"/>
                  <a:gd name="connsiteY16" fmla="*/ 434975 h 468313"/>
                  <a:gd name="connsiteX17" fmla="*/ 1251947 w 1303338"/>
                  <a:gd name="connsiteY17" fmla="*/ 434975 h 468313"/>
                  <a:gd name="connsiteX18" fmla="*/ 1283353 w 1303338"/>
                  <a:gd name="connsiteY18" fmla="*/ 434975 h 468313"/>
                  <a:gd name="connsiteX19" fmla="*/ 1287635 w 1303338"/>
                  <a:gd name="connsiteY19" fmla="*/ 434975 h 468313"/>
                  <a:gd name="connsiteX20" fmla="*/ 1303338 w 1303338"/>
                  <a:gd name="connsiteY20" fmla="*/ 452015 h 468313"/>
                  <a:gd name="connsiteX21" fmla="*/ 1287635 w 1303338"/>
                  <a:gd name="connsiteY21" fmla="*/ 468313 h 468313"/>
                  <a:gd name="connsiteX22" fmla="*/ 1271219 w 1303338"/>
                  <a:gd name="connsiteY22" fmla="*/ 468313 h 468313"/>
                  <a:gd name="connsiteX23" fmla="*/ 1078502 w 1303338"/>
                  <a:gd name="connsiteY23" fmla="*/ 468313 h 468313"/>
                  <a:gd name="connsiteX24" fmla="*/ 387576 w 1303338"/>
                  <a:gd name="connsiteY24" fmla="*/ 468313 h 468313"/>
                  <a:gd name="connsiteX25" fmla="*/ 229119 w 1303338"/>
                  <a:gd name="connsiteY25" fmla="*/ 468313 h 468313"/>
                  <a:gd name="connsiteX26" fmla="*/ 194145 w 1303338"/>
                  <a:gd name="connsiteY26" fmla="*/ 468313 h 468313"/>
                  <a:gd name="connsiteX27" fmla="*/ 92790 w 1303338"/>
                  <a:gd name="connsiteY27" fmla="*/ 468313 h 468313"/>
                  <a:gd name="connsiteX28" fmla="*/ 15703 w 1303338"/>
                  <a:gd name="connsiteY28" fmla="*/ 468313 h 468313"/>
                  <a:gd name="connsiteX29" fmla="*/ 0 w 1303338"/>
                  <a:gd name="connsiteY29" fmla="*/ 452015 h 468313"/>
                  <a:gd name="connsiteX30" fmla="*/ 15703 w 1303338"/>
                  <a:gd name="connsiteY30" fmla="*/ 434975 h 468313"/>
                  <a:gd name="connsiteX31" fmla="*/ 1004888 w 1303338"/>
                  <a:gd name="connsiteY31" fmla="*/ 92075 h 468313"/>
                  <a:gd name="connsiteX32" fmla="*/ 1004888 w 1303338"/>
                  <a:gd name="connsiteY32" fmla="*/ 152400 h 468313"/>
                  <a:gd name="connsiteX33" fmla="*/ 1004888 w 1303338"/>
                  <a:gd name="connsiteY33" fmla="*/ 168200 h 468313"/>
                  <a:gd name="connsiteX34" fmla="*/ 1004888 w 1303338"/>
                  <a:gd name="connsiteY34" fmla="*/ 183281 h 468313"/>
                  <a:gd name="connsiteX35" fmla="*/ 1004888 w 1303338"/>
                  <a:gd name="connsiteY35" fmla="*/ 212725 h 468313"/>
                  <a:gd name="connsiteX36" fmla="*/ 1087591 w 1303338"/>
                  <a:gd name="connsiteY36" fmla="*/ 212725 h 468313"/>
                  <a:gd name="connsiteX37" fmla="*/ 1119674 w 1303338"/>
                  <a:gd name="connsiteY37" fmla="*/ 212725 h 468313"/>
                  <a:gd name="connsiteX38" fmla="*/ 1122525 w 1303338"/>
                  <a:gd name="connsiteY38" fmla="*/ 183281 h 468313"/>
                  <a:gd name="connsiteX39" fmla="*/ 1123951 w 1303338"/>
                  <a:gd name="connsiteY39" fmla="*/ 168200 h 468313"/>
                  <a:gd name="connsiteX40" fmla="*/ 1123238 w 1303338"/>
                  <a:gd name="connsiteY40" fmla="*/ 168200 h 468313"/>
                  <a:gd name="connsiteX41" fmla="*/ 1103276 w 1303338"/>
                  <a:gd name="connsiteY41" fmla="*/ 152400 h 468313"/>
                  <a:gd name="connsiteX42" fmla="*/ 1094720 w 1303338"/>
                  <a:gd name="connsiteY42" fmla="*/ 145937 h 468313"/>
                  <a:gd name="connsiteX43" fmla="*/ 1004888 w 1303338"/>
                  <a:gd name="connsiteY43" fmla="*/ 92075 h 468313"/>
                  <a:gd name="connsiteX44" fmla="*/ 460375 w 1303338"/>
                  <a:gd name="connsiteY44" fmla="*/ 92075 h 468313"/>
                  <a:gd name="connsiteX45" fmla="*/ 372091 w 1303338"/>
                  <a:gd name="connsiteY45" fmla="*/ 145937 h 468313"/>
                  <a:gd name="connsiteX46" fmla="*/ 342900 w 1303338"/>
                  <a:gd name="connsiteY46" fmla="*/ 168200 h 468313"/>
                  <a:gd name="connsiteX47" fmla="*/ 347172 w 1303338"/>
                  <a:gd name="connsiteY47" fmla="*/ 212725 h 468313"/>
                  <a:gd name="connsiteX48" fmla="*/ 378499 w 1303338"/>
                  <a:gd name="connsiteY48" fmla="*/ 212725 h 468313"/>
                  <a:gd name="connsiteX49" fmla="*/ 460375 w 1303338"/>
                  <a:gd name="connsiteY49" fmla="*/ 212725 h 468313"/>
                  <a:gd name="connsiteX50" fmla="*/ 460375 w 1303338"/>
                  <a:gd name="connsiteY50" fmla="*/ 92075 h 468313"/>
                  <a:gd name="connsiteX51" fmla="*/ 876300 w 1303338"/>
                  <a:gd name="connsiteY51" fmla="*/ 49213 h 468313"/>
                  <a:gd name="connsiteX52" fmla="*/ 876300 w 1303338"/>
                  <a:gd name="connsiteY52" fmla="*/ 153008 h 468313"/>
                  <a:gd name="connsiteX53" fmla="*/ 876300 w 1303338"/>
                  <a:gd name="connsiteY53" fmla="*/ 168649 h 468313"/>
                  <a:gd name="connsiteX54" fmla="*/ 876300 w 1303338"/>
                  <a:gd name="connsiteY54" fmla="*/ 183578 h 468313"/>
                  <a:gd name="connsiteX55" fmla="*/ 876300 w 1303338"/>
                  <a:gd name="connsiteY55" fmla="*/ 212726 h 468313"/>
                  <a:gd name="connsiteX56" fmla="*/ 973138 w 1303338"/>
                  <a:gd name="connsiteY56" fmla="*/ 212726 h 468313"/>
                  <a:gd name="connsiteX57" fmla="*/ 973138 w 1303338"/>
                  <a:gd name="connsiteY57" fmla="*/ 183578 h 468313"/>
                  <a:gd name="connsiteX58" fmla="*/ 973138 w 1303338"/>
                  <a:gd name="connsiteY58" fmla="*/ 168649 h 468313"/>
                  <a:gd name="connsiteX59" fmla="*/ 973138 w 1303338"/>
                  <a:gd name="connsiteY59" fmla="*/ 153008 h 468313"/>
                  <a:gd name="connsiteX60" fmla="*/ 973138 w 1303338"/>
                  <a:gd name="connsiteY60" fmla="*/ 79783 h 468313"/>
                  <a:gd name="connsiteX61" fmla="*/ 876300 w 1303338"/>
                  <a:gd name="connsiteY61" fmla="*/ 49213 h 468313"/>
                  <a:gd name="connsiteX62" fmla="*/ 588963 w 1303338"/>
                  <a:gd name="connsiteY62" fmla="*/ 49213 h 468313"/>
                  <a:gd name="connsiteX63" fmla="*/ 492125 w 1303338"/>
                  <a:gd name="connsiteY63" fmla="*/ 79783 h 468313"/>
                  <a:gd name="connsiteX64" fmla="*/ 492125 w 1303338"/>
                  <a:gd name="connsiteY64" fmla="*/ 212726 h 468313"/>
                  <a:gd name="connsiteX65" fmla="*/ 588963 w 1303338"/>
                  <a:gd name="connsiteY65" fmla="*/ 212726 h 468313"/>
                  <a:gd name="connsiteX66" fmla="*/ 588963 w 1303338"/>
                  <a:gd name="connsiteY66" fmla="*/ 49213 h 468313"/>
                  <a:gd name="connsiteX67" fmla="*/ 749300 w 1303338"/>
                  <a:gd name="connsiteY67" fmla="*/ 31750 h 468313"/>
                  <a:gd name="connsiteX68" fmla="*/ 749300 w 1303338"/>
                  <a:gd name="connsiteY68" fmla="*/ 212725 h 468313"/>
                  <a:gd name="connsiteX69" fmla="*/ 844550 w 1303338"/>
                  <a:gd name="connsiteY69" fmla="*/ 212725 h 468313"/>
                  <a:gd name="connsiteX70" fmla="*/ 844550 w 1303338"/>
                  <a:gd name="connsiteY70" fmla="*/ 183513 h 468313"/>
                  <a:gd name="connsiteX71" fmla="*/ 844550 w 1303338"/>
                  <a:gd name="connsiteY71" fmla="*/ 168550 h 468313"/>
                  <a:gd name="connsiteX72" fmla="*/ 844550 w 1303338"/>
                  <a:gd name="connsiteY72" fmla="*/ 152875 h 468313"/>
                  <a:gd name="connsiteX73" fmla="*/ 844550 w 1303338"/>
                  <a:gd name="connsiteY73" fmla="*/ 41725 h 468313"/>
                  <a:gd name="connsiteX74" fmla="*/ 821267 w 1303338"/>
                  <a:gd name="connsiteY74" fmla="*/ 38163 h 468313"/>
                  <a:gd name="connsiteX75" fmla="*/ 806450 w 1303338"/>
                  <a:gd name="connsiteY75" fmla="*/ 36025 h 468313"/>
                  <a:gd name="connsiteX76" fmla="*/ 790928 w 1303338"/>
                  <a:gd name="connsiteY76" fmla="*/ 34600 h 468313"/>
                  <a:gd name="connsiteX77" fmla="*/ 749300 w 1303338"/>
                  <a:gd name="connsiteY77" fmla="*/ 31750 h 468313"/>
                  <a:gd name="connsiteX78" fmla="*/ 717551 w 1303338"/>
                  <a:gd name="connsiteY78" fmla="*/ 31750 h 468313"/>
                  <a:gd name="connsiteX79" fmla="*/ 620713 w 1303338"/>
                  <a:gd name="connsiteY79" fmla="*/ 41725 h 468313"/>
                  <a:gd name="connsiteX80" fmla="*/ 620713 w 1303338"/>
                  <a:gd name="connsiteY80" fmla="*/ 212725 h 468313"/>
                  <a:gd name="connsiteX81" fmla="*/ 717551 w 1303338"/>
                  <a:gd name="connsiteY81" fmla="*/ 212725 h 468313"/>
                  <a:gd name="connsiteX82" fmla="*/ 717551 w 1303338"/>
                  <a:gd name="connsiteY82" fmla="*/ 31750 h 468313"/>
                  <a:gd name="connsiteX83" fmla="*/ 733426 w 1303338"/>
                  <a:gd name="connsiteY83" fmla="*/ 0 h 468313"/>
                  <a:gd name="connsiteX84" fmla="*/ 791228 w 1303338"/>
                  <a:gd name="connsiteY84" fmla="*/ 2855 h 468313"/>
                  <a:gd name="connsiteX85" fmla="*/ 806927 w 1303338"/>
                  <a:gd name="connsiteY85" fmla="*/ 4282 h 468313"/>
                  <a:gd name="connsiteX86" fmla="*/ 821913 w 1303338"/>
                  <a:gd name="connsiteY86" fmla="*/ 5710 h 468313"/>
                  <a:gd name="connsiteX87" fmla="*/ 861161 w 1303338"/>
                  <a:gd name="connsiteY87" fmla="*/ 12846 h 468313"/>
                  <a:gd name="connsiteX88" fmla="*/ 915395 w 1303338"/>
                  <a:gd name="connsiteY88" fmla="*/ 25692 h 468313"/>
                  <a:gd name="connsiteX89" fmla="*/ 993892 w 1303338"/>
                  <a:gd name="connsiteY89" fmla="*/ 54239 h 468313"/>
                  <a:gd name="connsiteX90" fmla="*/ 998174 w 1303338"/>
                  <a:gd name="connsiteY90" fmla="*/ 55667 h 468313"/>
                  <a:gd name="connsiteX91" fmla="*/ 1098792 w 1303338"/>
                  <a:gd name="connsiteY91" fmla="*/ 110619 h 468313"/>
                  <a:gd name="connsiteX92" fmla="*/ 1128050 w 1303338"/>
                  <a:gd name="connsiteY92" fmla="*/ 131316 h 468313"/>
                  <a:gd name="connsiteX93" fmla="*/ 1131618 w 1303338"/>
                  <a:gd name="connsiteY93" fmla="*/ 94919 h 468313"/>
                  <a:gd name="connsiteX94" fmla="*/ 1132332 w 1303338"/>
                  <a:gd name="connsiteY94" fmla="*/ 89209 h 468313"/>
                  <a:gd name="connsiteX95" fmla="*/ 1148031 w 1303338"/>
                  <a:gd name="connsiteY95" fmla="*/ 74936 h 468313"/>
                  <a:gd name="connsiteX96" fmla="*/ 1185139 w 1303338"/>
                  <a:gd name="connsiteY96" fmla="*/ 74936 h 468313"/>
                  <a:gd name="connsiteX97" fmla="*/ 1200838 w 1303338"/>
                  <a:gd name="connsiteY97" fmla="*/ 74936 h 468313"/>
                  <a:gd name="connsiteX98" fmla="*/ 1202979 w 1303338"/>
                  <a:gd name="connsiteY98" fmla="*/ 74936 h 468313"/>
                  <a:gd name="connsiteX99" fmla="*/ 1215824 w 1303338"/>
                  <a:gd name="connsiteY99" fmla="*/ 83500 h 468313"/>
                  <a:gd name="connsiteX100" fmla="*/ 1217965 w 1303338"/>
                  <a:gd name="connsiteY100" fmla="*/ 89209 h 468313"/>
                  <a:gd name="connsiteX101" fmla="*/ 1249363 w 1303338"/>
                  <a:gd name="connsiteY101" fmla="*/ 403225 h 468313"/>
                  <a:gd name="connsiteX102" fmla="*/ 1232950 w 1303338"/>
                  <a:gd name="connsiteY102" fmla="*/ 403225 h 468313"/>
                  <a:gd name="connsiteX103" fmla="*/ 1217251 w 1303338"/>
                  <a:gd name="connsiteY103" fmla="*/ 403225 h 468313"/>
                  <a:gd name="connsiteX104" fmla="*/ 1132332 w 1303338"/>
                  <a:gd name="connsiteY104" fmla="*/ 403225 h 468313"/>
                  <a:gd name="connsiteX105" fmla="*/ 1116632 w 1303338"/>
                  <a:gd name="connsiteY105" fmla="*/ 403225 h 468313"/>
                  <a:gd name="connsiteX106" fmla="*/ 1100933 w 1303338"/>
                  <a:gd name="connsiteY106" fmla="*/ 403225 h 468313"/>
                  <a:gd name="connsiteX107" fmla="*/ 1113778 w 1303338"/>
                  <a:gd name="connsiteY107" fmla="*/ 275478 h 468313"/>
                  <a:gd name="connsiteX108" fmla="*/ 1116632 w 1303338"/>
                  <a:gd name="connsiteY108" fmla="*/ 244076 h 468313"/>
                  <a:gd name="connsiteX109" fmla="*/ 1085234 w 1303338"/>
                  <a:gd name="connsiteY109" fmla="*/ 244076 h 468313"/>
                  <a:gd name="connsiteX110" fmla="*/ 382331 w 1303338"/>
                  <a:gd name="connsiteY110" fmla="*/ 244076 h 468313"/>
                  <a:gd name="connsiteX111" fmla="*/ 350219 w 1303338"/>
                  <a:gd name="connsiteY111" fmla="*/ 244076 h 468313"/>
                  <a:gd name="connsiteX112" fmla="*/ 353787 w 1303338"/>
                  <a:gd name="connsiteY112" fmla="*/ 275478 h 468313"/>
                  <a:gd name="connsiteX113" fmla="*/ 366632 w 1303338"/>
                  <a:gd name="connsiteY113" fmla="*/ 403225 h 468313"/>
                  <a:gd name="connsiteX114" fmla="*/ 350219 w 1303338"/>
                  <a:gd name="connsiteY114" fmla="*/ 403225 h 468313"/>
                  <a:gd name="connsiteX115" fmla="*/ 334520 w 1303338"/>
                  <a:gd name="connsiteY115" fmla="*/ 403225 h 468313"/>
                  <a:gd name="connsiteX116" fmla="*/ 251741 w 1303338"/>
                  <a:gd name="connsiteY116" fmla="*/ 403225 h 468313"/>
                  <a:gd name="connsiteX117" fmla="*/ 248887 w 1303338"/>
                  <a:gd name="connsiteY117" fmla="*/ 403225 h 468313"/>
                  <a:gd name="connsiteX118" fmla="*/ 236042 w 1303338"/>
                  <a:gd name="connsiteY118" fmla="*/ 403225 h 468313"/>
                  <a:gd name="connsiteX119" fmla="*/ 233188 w 1303338"/>
                  <a:gd name="connsiteY119" fmla="*/ 403225 h 468313"/>
                  <a:gd name="connsiteX120" fmla="*/ 219629 w 1303338"/>
                  <a:gd name="connsiteY120" fmla="*/ 403225 h 468313"/>
                  <a:gd name="connsiteX121" fmla="*/ 217488 w 1303338"/>
                  <a:gd name="connsiteY121" fmla="*/ 403225 h 468313"/>
                  <a:gd name="connsiteX122" fmla="*/ 248887 w 1303338"/>
                  <a:gd name="connsiteY122" fmla="*/ 89209 h 468313"/>
                  <a:gd name="connsiteX123" fmla="*/ 264586 w 1303338"/>
                  <a:gd name="connsiteY123" fmla="*/ 74936 h 468313"/>
                  <a:gd name="connsiteX124" fmla="*/ 319534 w 1303338"/>
                  <a:gd name="connsiteY124" fmla="*/ 74936 h 468313"/>
                  <a:gd name="connsiteX125" fmla="*/ 333806 w 1303338"/>
                  <a:gd name="connsiteY125" fmla="*/ 84213 h 468313"/>
                  <a:gd name="connsiteX126" fmla="*/ 335233 w 1303338"/>
                  <a:gd name="connsiteY126" fmla="*/ 89209 h 468313"/>
                  <a:gd name="connsiteX127" fmla="*/ 335947 w 1303338"/>
                  <a:gd name="connsiteY127" fmla="*/ 94919 h 468313"/>
                  <a:gd name="connsiteX128" fmla="*/ 335947 w 1303338"/>
                  <a:gd name="connsiteY128" fmla="*/ 99914 h 468313"/>
                  <a:gd name="connsiteX129" fmla="*/ 338088 w 1303338"/>
                  <a:gd name="connsiteY129" fmla="*/ 116329 h 468313"/>
                  <a:gd name="connsiteX130" fmla="*/ 339515 w 1303338"/>
                  <a:gd name="connsiteY130" fmla="*/ 131316 h 468313"/>
                  <a:gd name="connsiteX131" fmla="*/ 368773 w 1303338"/>
                  <a:gd name="connsiteY131" fmla="*/ 110619 h 468313"/>
                  <a:gd name="connsiteX132" fmla="*/ 398744 w 1303338"/>
                  <a:gd name="connsiteY132" fmla="*/ 91350 h 468313"/>
                  <a:gd name="connsiteX133" fmla="*/ 467964 w 1303338"/>
                  <a:gd name="connsiteY133" fmla="*/ 55667 h 468313"/>
                  <a:gd name="connsiteX134" fmla="*/ 472959 w 1303338"/>
                  <a:gd name="connsiteY134" fmla="*/ 54239 h 468313"/>
                  <a:gd name="connsiteX135" fmla="*/ 579287 w 1303338"/>
                  <a:gd name="connsiteY135" fmla="*/ 18556 h 468313"/>
                  <a:gd name="connsiteX136" fmla="*/ 733426 w 1303338"/>
                  <a:gd name="connsiteY136" fmla="*/ 0 h 46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1303338" h="468313">
                    <a:moveTo>
                      <a:pt x="15703" y="434975"/>
                    </a:moveTo>
                    <a:cubicBezTo>
                      <a:pt x="15703" y="434975"/>
                      <a:pt x="15703" y="434975"/>
                      <a:pt x="77087" y="434975"/>
                    </a:cubicBezTo>
                    <a:cubicBezTo>
                      <a:pt x="77087" y="434975"/>
                      <a:pt x="77087" y="434975"/>
                      <a:pt x="92790" y="434975"/>
                    </a:cubicBezTo>
                    <a:cubicBezTo>
                      <a:pt x="92790" y="434975"/>
                      <a:pt x="92790" y="434975"/>
                      <a:pt x="108493" y="434975"/>
                    </a:cubicBezTo>
                    <a:cubicBezTo>
                      <a:pt x="108493" y="434975"/>
                      <a:pt x="108493" y="434975"/>
                      <a:pt x="182011" y="434975"/>
                    </a:cubicBezTo>
                    <a:cubicBezTo>
                      <a:pt x="182011" y="434975"/>
                      <a:pt x="182011" y="434975"/>
                      <a:pt x="213416" y="434975"/>
                    </a:cubicBezTo>
                    <a:cubicBezTo>
                      <a:pt x="213416" y="434975"/>
                      <a:pt x="213416" y="434975"/>
                      <a:pt x="214844" y="434975"/>
                    </a:cubicBezTo>
                    <a:cubicBezTo>
                      <a:pt x="214844" y="434975"/>
                      <a:pt x="214844" y="434975"/>
                      <a:pt x="229119" y="434975"/>
                    </a:cubicBezTo>
                    <a:cubicBezTo>
                      <a:pt x="229119" y="434975"/>
                      <a:pt x="229119" y="434975"/>
                      <a:pt x="230547" y="434975"/>
                    </a:cubicBezTo>
                    <a:cubicBezTo>
                      <a:pt x="230547" y="434975"/>
                      <a:pt x="230547" y="434975"/>
                      <a:pt x="246964" y="434975"/>
                    </a:cubicBezTo>
                    <a:cubicBezTo>
                      <a:pt x="246964" y="434975"/>
                      <a:pt x="246964" y="434975"/>
                      <a:pt x="352601" y="434975"/>
                    </a:cubicBezTo>
                    <a:cubicBezTo>
                      <a:pt x="352601" y="434975"/>
                      <a:pt x="352601" y="434975"/>
                      <a:pt x="368304" y="434975"/>
                    </a:cubicBezTo>
                    <a:cubicBezTo>
                      <a:pt x="368304" y="434975"/>
                      <a:pt x="368304" y="434975"/>
                      <a:pt x="398996" y="434975"/>
                    </a:cubicBezTo>
                    <a:cubicBezTo>
                      <a:pt x="398996" y="434975"/>
                      <a:pt x="398996" y="434975"/>
                      <a:pt x="1066368" y="434975"/>
                    </a:cubicBezTo>
                    <a:cubicBezTo>
                      <a:pt x="1066368" y="434975"/>
                      <a:pt x="1066368" y="434975"/>
                      <a:pt x="1097060" y="434975"/>
                    </a:cubicBezTo>
                    <a:cubicBezTo>
                      <a:pt x="1097060" y="434975"/>
                      <a:pt x="1097060" y="434975"/>
                      <a:pt x="1112762" y="434975"/>
                    </a:cubicBezTo>
                    <a:cubicBezTo>
                      <a:pt x="1112762" y="434975"/>
                      <a:pt x="1112762" y="434975"/>
                      <a:pt x="1236244" y="434975"/>
                    </a:cubicBezTo>
                    <a:cubicBezTo>
                      <a:pt x="1236244" y="434975"/>
                      <a:pt x="1236244" y="434975"/>
                      <a:pt x="1251947" y="434975"/>
                    </a:cubicBezTo>
                    <a:cubicBezTo>
                      <a:pt x="1251947" y="434975"/>
                      <a:pt x="1251947" y="434975"/>
                      <a:pt x="1283353" y="434975"/>
                    </a:cubicBezTo>
                    <a:cubicBezTo>
                      <a:pt x="1283353" y="434975"/>
                      <a:pt x="1283353" y="434975"/>
                      <a:pt x="1287635" y="434975"/>
                    </a:cubicBezTo>
                    <a:cubicBezTo>
                      <a:pt x="1296201" y="434975"/>
                      <a:pt x="1303338" y="442384"/>
                      <a:pt x="1303338" y="452015"/>
                    </a:cubicBezTo>
                    <a:cubicBezTo>
                      <a:pt x="1303338" y="460905"/>
                      <a:pt x="1296201" y="468313"/>
                      <a:pt x="1287635" y="468313"/>
                    </a:cubicBezTo>
                    <a:cubicBezTo>
                      <a:pt x="1287635" y="468313"/>
                      <a:pt x="1287635" y="468313"/>
                      <a:pt x="1271219" y="468313"/>
                    </a:cubicBezTo>
                    <a:cubicBezTo>
                      <a:pt x="1271219" y="468313"/>
                      <a:pt x="1271219" y="468313"/>
                      <a:pt x="1078502" y="468313"/>
                    </a:cubicBezTo>
                    <a:cubicBezTo>
                      <a:pt x="1078502" y="468313"/>
                      <a:pt x="1078502" y="468313"/>
                      <a:pt x="387576" y="468313"/>
                    </a:cubicBezTo>
                    <a:cubicBezTo>
                      <a:pt x="387576" y="468313"/>
                      <a:pt x="387576" y="468313"/>
                      <a:pt x="229119" y="468313"/>
                    </a:cubicBezTo>
                    <a:cubicBezTo>
                      <a:pt x="229119" y="468313"/>
                      <a:pt x="229119" y="468313"/>
                      <a:pt x="194145" y="468313"/>
                    </a:cubicBezTo>
                    <a:cubicBezTo>
                      <a:pt x="194145" y="468313"/>
                      <a:pt x="194145" y="468313"/>
                      <a:pt x="92790" y="468313"/>
                    </a:cubicBezTo>
                    <a:cubicBezTo>
                      <a:pt x="92790" y="468313"/>
                      <a:pt x="92790" y="468313"/>
                      <a:pt x="15703" y="468313"/>
                    </a:cubicBezTo>
                    <a:cubicBezTo>
                      <a:pt x="7138" y="468313"/>
                      <a:pt x="0" y="460905"/>
                      <a:pt x="0" y="452015"/>
                    </a:cubicBezTo>
                    <a:cubicBezTo>
                      <a:pt x="0" y="442384"/>
                      <a:pt x="7138" y="434975"/>
                      <a:pt x="15703" y="434975"/>
                    </a:cubicBezTo>
                    <a:close/>
                    <a:moveTo>
                      <a:pt x="1004888" y="92075"/>
                    </a:moveTo>
                    <a:cubicBezTo>
                      <a:pt x="1004888" y="92075"/>
                      <a:pt x="1004888" y="92075"/>
                      <a:pt x="1004888" y="152400"/>
                    </a:cubicBezTo>
                    <a:cubicBezTo>
                      <a:pt x="1004888" y="152400"/>
                      <a:pt x="1004888" y="152400"/>
                      <a:pt x="1004888" y="168200"/>
                    </a:cubicBezTo>
                    <a:cubicBezTo>
                      <a:pt x="1004888" y="168200"/>
                      <a:pt x="1004888" y="168200"/>
                      <a:pt x="1004888" y="183281"/>
                    </a:cubicBezTo>
                    <a:cubicBezTo>
                      <a:pt x="1004888" y="183281"/>
                      <a:pt x="1004888" y="183281"/>
                      <a:pt x="1004888" y="212725"/>
                    </a:cubicBezTo>
                    <a:cubicBezTo>
                      <a:pt x="1004888" y="212725"/>
                      <a:pt x="1004888" y="212725"/>
                      <a:pt x="1087591" y="212725"/>
                    </a:cubicBezTo>
                    <a:cubicBezTo>
                      <a:pt x="1087591" y="212725"/>
                      <a:pt x="1087591" y="212725"/>
                      <a:pt x="1119674" y="212725"/>
                    </a:cubicBezTo>
                    <a:cubicBezTo>
                      <a:pt x="1119674" y="212725"/>
                      <a:pt x="1119674" y="212725"/>
                      <a:pt x="1122525" y="183281"/>
                    </a:cubicBezTo>
                    <a:cubicBezTo>
                      <a:pt x="1122525" y="183281"/>
                      <a:pt x="1122525" y="183281"/>
                      <a:pt x="1123951" y="168200"/>
                    </a:cubicBezTo>
                    <a:cubicBezTo>
                      <a:pt x="1123951" y="168200"/>
                      <a:pt x="1123951" y="168200"/>
                      <a:pt x="1123238" y="168200"/>
                    </a:cubicBezTo>
                    <a:cubicBezTo>
                      <a:pt x="1116822" y="162454"/>
                      <a:pt x="1109692" y="157427"/>
                      <a:pt x="1103276" y="152400"/>
                    </a:cubicBezTo>
                    <a:cubicBezTo>
                      <a:pt x="1100424" y="150246"/>
                      <a:pt x="1097572" y="148091"/>
                      <a:pt x="1094720" y="145937"/>
                    </a:cubicBezTo>
                    <a:cubicBezTo>
                      <a:pt x="1066202" y="125110"/>
                      <a:pt x="1036258" y="107875"/>
                      <a:pt x="1004888" y="92075"/>
                    </a:cubicBezTo>
                    <a:close/>
                    <a:moveTo>
                      <a:pt x="460375" y="92075"/>
                    </a:moveTo>
                    <a:cubicBezTo>
                      <a:pt x="429761" y="107875"/>
                      <a:pt x="400570" y="125110"/>
                      <a:pt x="372091" y="145937"/>
                    </a:cubicBezTo>
                    <a:cubicBezTo>
                      <a:pt x="362123" y="153118"/>
                      <a:pt x="352156" y="160300"/>
                      <a:pt x="342900" y="168200"/>
                    </a:cubicBezTo>
                    <a:cubicBezTo>
                      <a:pt x="342900" y="168200"/>
                      <a:pt x="342900" y="168200"/>
                      <a:pt x="347172" y="212725"/>
                    </a:cubicBezTo>
                    <a:cubicBezTo>
                      <a:pt x="347172" y="212725"/>
                      <a:pt x="347172" y="212725"/>
                      <a:pt x="378499" y="212725"/>
                    </a:cubicBezTo>
                    <a:cubicBezTo>
                      <a:pt x="378499" y="212725"/>
                      <a:pt x="378499" y="212725"/>
                      <a:pt x="460375" y="212725"/>
                    </a:cubicBezTo>
                    <a:cubicBezTo>
                      <a:pt x="460375" y="212725"/>
                      <a:pt x="460375" y="212725"/>
                      <a:pt x="460375" y="92075"/>
                    </a:cubicBezTo>
                    <a:close/>
                    <a:moveTo>
                      <a:pt x="876300" y="49213"/>
                    </a:moveTo>
                    <a:cubicBezTo>
                      <a:pt x="876300" y="49213"/>
                      <a:pt x="876300" y="49213"/>
                      <a:pt x="876300" y="153008"/>
                    </a:cubicBezTo>
                    <a:cubicBezTo>
                      <a:pt x="876300" y="153008"/>
                      <a:pt x="876300" y="153008"/>
                      <a:pt x="876300" y="168649"/>
                    </a:cubicBezTo>
                    <a:cubicBezTo>
                      <a:pt x="876300" y="168649"/>
                      <a:pt x="876300" y="168649"/>
                      <a:pt x="876300" y="183578"/>
                    </a:cubicBezTo>
                    <a:cubicBezTo>
                      <a:pt x="876300" y="183578"/>
                      <a:pt x="876300" y="183578"/>
                      <a:pt x="876300" y="212726"/>
                    </a:cubicBezTo>
                    <a:cubicBezTo>
                      <a:pt x="876300" y="212726"/>
                      <a:pt x="876300" y="212726"/>
                      <a:pt x="973138" y="212726"/>
                    </a:cubicBezTo>
                    <a:cubicBezTo>
                      <a:pt x="973138" y="212726"/>
                      <a:pt x="973138" y="212726"/>
                      <a:pt x="973138" y="183578"/>
                    </a:cubicBezTo>
                    <a:cubicBezTo>
                      <a:pt x="973138" y="183578"/>
                      <a:pt x="973138" y="183578"/>
                      <a:pt x="973138" y="168649"/>
                    </a:cubicBezTo>
                    <a:cubicBezTo>
                      <a:pt x="973138" y="168649"/>
                      <a:pt x="973138" y="168649"/>
                      <a:pt x="973138" y="153008"/>
                    </a:cubicBezTo>
                    <a:cubicBezTo>
                      <a:pt x="973138" y="153008"/>
                      <a:pt x="973138" y="153008"/>
                      <a:pt x="973138" y="79783"/>
                    </a:cubicBezTo>
                    <a:cubicBezTo>
                      <a:pt x="941808" y="66986"/>
                      <a:pt x="909766" y="56322"/>
                      <a:pt x="876300" y="49213"/>
                    </a:cubicBezTo>
                    <a:close/>
                    <a:moveTo>
                      <a:pt x="588963" y="49213"/>
                    </a:moveTo>
                    <a:cubicBezTo>
                      <a:pt x="556209" y="56322"/>
                      <a:pt x="523455" y="66986"/>
                      <a:pt x="492125" y="79783"/>
                    </a:cubicBezTo>
                    <a:cubicBezTo>
                      <a:pt x="492125" y="79783"/>
                      <a:pt x="492125" y="79783"/>
                      <a:pt x="492125" y="212726"/>
                    </a:cubicBezTo>
                    <a:cubicBezTo>
                      <a:pt x="492125" y="212726"/>
                      <a:pt x="492125" y="212726"/>
                      <a:pt x="588963" y="212726"/>
                    </a:cubicBezTo>
                    <a:cubicBezTo>
                      <a:pt x="588963" y="212726"/>
                      <a:pt x="588963" y="212726"/>
                      <a:pt x="588963" y="49213"/>
                    </a:cubicBezTo>
                    <a:close/>
                    <a:moveTo>
                      <a:pt x="749300" y="31750"/>
                    </a:moveTo>
                    <a:cubicBezTo>
                      <a:pt x="749300" y="31750"/>
                      <a:pt x="749300" y="31750"/>
                      <a:pt x="749300" y="212725"/>
                    </a:cubicBezTo>
                    <a:cubicBezTo>
                      <a:pt x="749300" y="212725"/>
                      <a:pt x="749300" y="212725"/>
                      <a:pt x="844550" y="212725"/>
                    </a:cubicBezTo>
                    <a:cubicBezTo>
                      <a:pt x="844550" y="212725"/>
                      <a:pt x="844550" y="212725"/>
                      <a:pt x="844550" y="183513"/>
                    </a:cubicBezTo>
                    <a:cubicBezTo>
                      <a:pt x="844550" y="183513"/>
                      <a:pt x="844550" y="183513"/>
                      <a:pt x="844550" y="168550"/>
                    </a:cubicBezTo>
                    <a:cubicBezTo>
                      <a:pt x="844550" y="168550"/>
                      <a:pt x="844550" y="168550"/>
                      <a:pt x="844550" y="152875"/>
                    </a:cubicBezTo>
                    <a:cubicBezTo>
                      <a:pt x="844550" y="152875"/>
                      <a:pt x="844550" y="152875"/>
                      <a:pt x="844550" y="41725"/>
                    </a:cubicBezTo>
                    <a:cubicBezTo>
                      <a:pt x="836789" y="40300"/>
                      <a:pt x="829028" y="38875"/>
                      <a:pt x="821267" y="38163"/>
                    </a:cubicBezTo>
                    <a:cubicBezTo>
                      <a:pt x="816328" y="37450"/>
                      <a:pt x="811389" y="36738"/>
                      <a:pt x="806450" y="36025"/>
                    </a:cubicBezTo>
                    <a:cubicBezTo>
                      <a:pt x="801511" y="35313"/>
                      <a:pt x="795867" y="34600"/>
                      <a:pt x="790928" y="34600"/>
                    </a:cubicBezTo>
                    <a:cubicBezTo>
                      <a:pt x="777522" y="33175"/>
                      <a:pt x="763411" y="32463"/>
                      <a:pt x="749300" y="31750"/>
                    </a:cubicBezTo>
                    <a:close/>
                    <a:moveTo>
                      <a:pt x="717551" y="31750"/>
                    </a:moveTo>
                    <a:cubicBezTo>
                      <a:pt x="684797" y="32463"/>
                      <a:pt x="652755" y="36025"/>
                      <a:pt x="620713" y="41725"/>
                    </a:cubicBezTo>
                    <a:cubicBezTo>
                      <a:pt x="620713" y="41725"/>
                      <a:pt x="620713" y="41725"/>
                      <a:pt x="620713" y="212725"/>
                    </a:cubicBezTo>
                    <a:cubicBezTo>
                      <a:pt x="620713" y="212725"/>
                      <a:pt x="620713" y="212725"/>
                      <a:pt x="717551" y="212725"/>
                    </a:cubicBezTo>
                    <a:cubicBezTo>
                      <a:pt x="717551" y="212725"/>
                      <a:pt x="717551" y="212725"/>
                      <a:pt x="717551" y="31750"/>
                    </a:cubicBezTo>
                    <a:close/>
                    <a:moveTo>
                      <a:pt x="733426" y="0"/>
                    </a:moveTo>
                    <a:cubicBezTo>
                      <a:pt x="752693" y="0"/>
                      <a:pt x="771960" y="714"/>
                      <a:pt x="791228" y="2855"/>
                    </a:cubicBezTo>
                    <a:cubicBezTo>
                      <a:pt x="796223" y="2855"/>
                      <a:pt x="801932" y="3568"/>
                      <a:pt x="806927" y="4282"/>
                    </a:cubicBezTo>
                    <a:cubicBezTo>
                      <a:pt x="811922" y="4996"/>
                      <a:pt x="816918" y="5710"/>
                      <a:pt x="821913" y="5710"/>
                    </a:cubicBezTo>
                    <a:cubicBezTo>
                      <a:pt x="834758" y="7851"/>
                      <a:pt x="848316" y="9992"/>
                      <a:pt x="861161" y="12846"/>
                    </a:cubicBezTo>
                    <a:cubicBezTo>
                      <a:pt x="879715" y="16415"/>
                      <a:pt x="897555" y="20697"/>
                      <a:pt x="915395" y="25692"/>
                    </a:cubicBezTo>
                    <a:cubicBezTo>
                      <a:pt x="941799" y="33543"/>
                      <a:pt x="968202" y="42820"/>
                      <a:pt x="993892" y="54239"/>
                    </a:cubicBezTo>
                    <a:cubicBezTo>
                      <a:pt x="995319" y="54239"/>
                      <a:pt x="996747" y="54953"/>
                      <a:pt x="998174" y="55667"/>
                    </a:cubicBezTo>
                    <a:cubicBezTo>
                      <a:pt x="1033140" y="70654"/>
                      <a:pt x="1066680" y="89209"/>
                      <a:pt x="1098792" y="110619"/>
                    </a:cubicBezTo>
                    <a:cubicBezTo>
                      <a:pt x="1108783" y="117042"/>
                      <a:pt x="1118060" y="124179"/>
                      <a:pt x="1128050" y="131316"/>
                    </a:cubicBezTo>
                    <a:cubicBezTo>
                      <a:pt x="1128050" y="131316"/>
                      <a:pt x="1128050" y="131316"/>
                      <a:pt x="1131618" y="94919"/>
                    </a:cubicBezTo>
                    <a:cubicBezTo>
                      <a:pt x="1131618" y="94919"/>
                      <a:pt x="1131618" y="94919"/>
                      <a:pt x="1132332" y="89209"/>
                    </a:cubicBezTo>
                    <a:cubicBezTo>
                      <a:pt x="1133045" y="81359"/>
                      <a:pt x="1139468" y="74936"/>
                      <a:pt x="1148031" y="74936"/>
                    </a:cubicBezTo>
                    <a:cubicBezTo>
                      <a:pt x="1148031" y="74936"/>
                      <a:pt x="1148031" y="74936"/>
                      <a:pt x="1185139" y="74936"/>
                    </a:cubicBezTo>
                    <a:cubicBezTo>
                      <a:pt x="1185139" y="74936"/>
                      <a:pt x="1185139" y="74936"/>
                      <a:pt x="1200838" y="74936"/>
                    </a:cubicBezTo>
                    <a:cubicBezTo>
                      <a:pt x="1200838" y="74936"/>
                      <a:pt x="1200838" y="74936"/>
                      <a:pt x="1202979" y="74936"/>
                    </a:cubicBezTo>
                    <a:cubicBezTo>
                      <a:pt x="1208688" y="74936"/>
                      <a:pt x="1213683" y="78504"/>
                      <a:pt x="1215824" y="83500"/>
                    </a:cubicBezTo>
                    <a:cubicBezTo>
                      <a:pt x="1217251" y="84927"/>
                      <a:pt x="1217965" y="87068"/>
                      <a:pt x="1217965" y="89209"/>
                    </a:cubicBezTo>
                    <a:cubicBezTo>
                      <a:pt x="1217965" y="89209"/>
                      <a:pt x="1217965" y="89209"/>
                      <a:pt x="1249363" y="403225"/>
                    </a:cubicBezTo>
                    <a:cubicBezTo>
                      <a:pt x="1249363" y="403225"/>
                      <a:pt x="1249363" y="403225"/>
                      <a:pt x="1232950" y="403225"/>
                    </a:cubicBezTo>
                    <a:cubicBezTo>
                      <a:pt x="1232950" y="403225"/>
                      <a:pt x="1232950" y="403225"/>
                      <a:pt x="1217251" y="403225"/>
                    </a:cubicBezTo>
                    <a:cubicBezTo>
                      <a:pt x="1217251" y="403225"/>
                      <a:pt x="1217251" y="403225"/>
                      <a:pt x="1132332" y="403225"/>
                    </a:cubicBezTo>
                    <a:cubicBezTo>
                      <a:pt x="1132332" y="403225"/>
                      <a:pt x="1132332" y="403225"/>
                      <a:pt x="1116632" y="403225"/>
                    </a:cubicBezTo>
                    <a:cubicBezTo>
                      <a:pt x="1116632" y="403225"/>
                      <a:pt x="1116632" y="403225"/>
                      <a:pt x="1100933" y="403225"/>
                    </a:cubicBezTo>
                    <a:cubicBezTo>
                      <a:pt x="1100933" y="403225"/>
                      <a:pt x="1100933" y="403225"/>
                      <a:pt x="1113778" y="275478"/>
                    </a:cubicBezTo>
                    <a:cubicBezTo>
                      <a:pt x="1113778" y="275478"/>
                      <a:pt x="1113778" y="275478"/>
                      <a:pt x="1116632" y="244076"/>
                    </a:cubicBezTo>
                    <a:cubicBezTo>
                      <a:pt x="1116632" y="244076"/>
                      <a:pt x="1116632" y="244076"/>
                      <a:pt x="1085234" y="244076"/>
                    </a:cubicBezTo>
                    <a:cubicBezTo>
                      <a:pt x="1085234" y="244076"/>
                      <a:pt x="1085234" y="244076"/>
                      <a:pt x="382331" y="244076"/>
                    </a:cubicBezTo>
                    <a:cubicBezTo>
                      <a:pt x="382331" y="244076"/>
                      <a:pt x="382331" y="244076"/>
                      <a:pt x="350219" y="244076"/>
                    </a:cubicBezTo>
                    <a:cubicBezTo>
                      <a:pt x="350219" y="244076"/>
                      <a:pt x="350219" y="244076"/>
                      <a:pt x="353787" y="275478"/>
                    </a:cubicBezTo>
                    <a:cubicBezTo>
                      <a:pt x="353787" y="275478"/>
                      <a:pt x="353787" y="275478"/>
                      <a:pt x="366632" y="403225"/>
                    </a:cubicBezTo>
                    <a:cubicBezTo>
                      <a:pt x="366632" y="403225"/>
                      <a:pt x="366632" y="403225"/>
                      <a:pt x="350219" y="403225"/>
                    </a:cubicBezTo>
                    <a:cubicBezTo>
                      <a:pt x="350219" y="403225"/>
                      <a:pt x="350219" y="403225"/>
                      <a:pt x="334520" y="403225"/>
                    </a:cubicBezTo>
                    <a:cubicBezTo>
                      <a:pt x="334520" y="403225"/>
                      <a:pt x="334520" y="403225"/>
                      <a:pt x="251741" y="403225"/>
                    </a:cubicBezTo>
                    <a:cubicBezTo>
                      <a:pt x="251741" y="403225"/>
                      <a:pt x="251741" y="403225"/>
                      <a:pt x="248887" y="403225"/>
                    </a:cubicBezTo>
                    <a:cubicBezTo>
                      <a:pt x="248887" y="403225"/>
                      <a:pt x="248887" y="403225"/>
                      <a:pt x="236042" y="403225"/>
                    </a:cubicBezTo>
                    <a:cubicBezTo>
                      <a:pt x="236042" y="403225"/>
                      <a:pt x="236042" y="403225"/>
                      <a:pt x="233188" y="403225"/>
                    </a:cubicBezTo>
                    <a:cubicBezTo>
                      <a:pt x="233188" y="403225"/>
                      <a:pt x="233188" y="403225"/>
                      <a:pt x="219629" y="403225"/>
                    </a:cubicBezTo>
                    <a:cubicBezTo>
                      <a:pt x="219629" y="403225"/>
                      <a:pt x="219629" y="403225"/>
                      <a:pt x="217488" y="403225"/>
                    </a:cubicBezTo>
                    <a:cubicBezTo>
                      <a:pt x="217488" y="403225"/>
                      <a:pt x="217488" y="403225"/>
                      <a:pt x="248887" y="89209"/>
                    </a:cubicBezTo>
                    <a:cubicBezTo>
                      <a:pt x="249601" y="81359"/>
                      <a:pt x="256023" y="74936"/>
                      <a:pt x="264586" y="74936"/>
                    </a:cubicBezTo>
                    <a:cubicBezTo>
                      <a:pt x="264586" y="74936"/>
                      <a:pt x="264586" y="74936"/>
                      <a:pt x="319534" y="74936"/>
                    </a:cubicBezTo>
                    <a:cubicBezTo>
                      <a:pt x="325956" y="74936"/>
                      <a:pt x="330952" y="78504"/>
                      <a:pt x="333806" y="84213"/>
                    </a:cubicBezTo>
                    <a:cubicBezTo>
                      <a:pt x="334520" y="85641"/>
                      <a:pt x="335233" y="87068"/>
                      <a:pt x="335233" y="89209"/>
                    </a:cubicBezTo>
                    <a:cubicBezTo>
                      <a:pt x="335233" y="89209"/>
                      <a:pt x="335233" y="89209"/>
                      <a:pt x="335947" y="94919"/>
                    </a:cubicBezTo>
                    <a:cubicBezTo>
                      <a:pt x="335947" y="94919"/>
                      <a:pt x="335947" y="94919"/>
                      <a:pt x="335947" y="99914"/>
                    </a:cubicBezTo>
                    <a:cubicBezTo>
                      <a:pt x="335947" y="99914"/>
                      <a:pt x="335947" y="99914"/>
                      <a:pt x="338088" y="116329"/>
                    </a:cubicBezTo>
                    <a:cubicBezTo>
                      <a:pt x="338088" y="116329"/>
                      <a:pt x="338088" y="116329"/>
                      <a:pt x="339515" y="131316"/>
                    </a:cubicBezTo>
                    <a:cubicBezTo>
                      <a:pt x="348792" y="124179"/>
                      <a:pt x="358782" y="117042"/>
                      <a:pt x="368773" y="110619"/>
                    </a:cubicBezTo>
                    <a:cubicBezTo>
                      <a:pt x="378763" y="103483"/>
                      <a:pt x="388754" y="97773"/>
                      <a:pt x="398744" y="91350"/>
                    </a:cubicBezTo>
                    <a:cubicBezTo>
                      <a:pt x="420866" y="77790"/>
                      <a:pt x="444415" y="66372"/>
                      <a:pt x="467964" y="55667"/>
                    </a:cubicBezTo>
                    <a:cubicBezTo>
                      <a:pt x="469391" y="54953"/>
                      <a:pt x="470819" y="54239"/>
                      <a:pt x="472959" y="54239"/>
                    </a:cubicBezTo>
                    <a:cubicBezTo>
                      <a:pt x="507212" y="39252"/>
                      <a:pt x="542893" y="27120"/>
                      <a:pt x="579287" y="18556"/>
                    </a:cubicBezTo>
                    <a:cubicBezTo>
                      <a:pt x="629239" y="6423"/>
                      <a:pt x="681332" y="0"/>
                      <a:pt x="73342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14" name="Freeform 14">
                <a:extLst>
                  <a:ext uri="{FF2B5EF4-FFF2-40B4-BE49-F238E27FC236}">
                    <a16:creationId xmlns:a16="http://schemas.microsoft.com/office/drawing/2014/main" id="{D9E558B2-36E0-4721-97FE-3361BB3AE3D2}"/>
                  </a:ext>
                </a:extLst>
              </p:cNvPr>
              <p:cNvSpPr>
                <a:spLocks/>
              </p:cNvSpPr>
              <p:nvPr/>
            </p:nvSpPr>
            <p:spPr bwMode="auto">
              <a:xfrm>
                <a:off x="5521325" y="2725738"/>
                <a:ext cx="1139825" cy="1290638"/>
              </a:xfrm>
              <a:custGeom>
                <a:avLst/>
                <a:gdLst>
                  <a:gd name="connsiteX0" fmla="*/ 958086 w 1139825"/>
                  <a:gd name="connsiteY0" fmla="*/ 833437 h 1290638"/>
                  <a:gd name="connsiteX1" fmla="*/ 950913 w 1139825"/>
                  <a:gd name="connsiteY1" fmla="*/ 840524 h 1290638"/>
                  <a:gd name="connsiteX2" fmla="*/ 950913 w 1139825"/>
                  <a:gd name="connsiteY2" fmla="*/ 905725 h 1290638"/>
                  <a:gd name="connsiteX3" fmla="*/ 958086 w 1139825"/>
                  <a:gd name="connsiteY3" fmla="*/ 912812 h 1290638"/>
                  <a:gd name="connsiteX4" fmla="*/ 1062804 w 1139825"/>
                  <a:gd name="connsiteY4" fmla="*/ 912812 h 1290638"/>
                  <a:gd name="connsiteX5" fmla="*/ 1069976 w 1139825"/>
                  <a:gd name="connsiteY5" fmla="*/ 905725 h 1290638"/>
                  <a:gd name="connsiteX6" fmla="*/ 1069976 w 1139825"/>
                  <a:gd name="connsiteY6" fmla="*/ 840524 h 1290638"/>
                  <a:gd name="connsiteX7" fmla="*/ 1062804 w 1139825"/>
                  <a:gd name="connsiteY7" fmla="*/ 833437 h 1290638"/>
                  <a:gd name="connsiteX8" fmla="*/ 958086 w 1139825"/>
                  <a:gd name="connsiteY8" fmla="*/ 833437 h 1290638"/>
                  <a:gd name="connsiteX9" fmla="*/ 453345 w 1139825"/>
                  <a:gd name="connsiteY9" fmla="*/ 769937 h 1290638"/>
                  <a:gd name="connsiteX10" fmla="*/ 446088 w 1139825"/>
                  <a:gd name="connsiteY10" fmla="*/ 777024 h 1290638"/>
                  <a:gd name="connsiteX11" fmla="*/ 446088 w 1139825"/>
                  <a:gd name="connsiteY11" fmla="*/ 842225 h 1290638"/>
                  <a:gd name="connsiteX12" fmla="*/ 453345 w 1139825"/>
                  <a:gd name="connsiteY12" fmla="*/ 849312 h 1290638"/>
                  <a:gd name="connsiteX13" fmla="*/ 489631 w 1139825"/>
                  <a:gd name="connsiteY13" fmla="*/ 849312 h 1290638"/>
                  <a:gd name="connsiteX14" fmla="*/ 496888 w 1139825"/>
                  <a:gd name="connsiteY14" fmla="*/ 842225 h 1290638"/>
                  <a:gd name="connsiteX15" fmla="*/ 496888 w 1139825"/>
                  <a:gd name="connsiteY15" fmla="*/ 777024 h 1290638"/>
                  <a:gd name="connsiteX16" fmla="*/ 489631 w 1139825"/>
                  <a:gd name="connsiteY16" fmla="*/ 769937 h 1290638"/>
                  <a:gd name="connsiteX17" fmla="*/ 453345 w 1139825"/>
                  <a:gd name="connsiteY17" fmla="*/ 769937 h 1290638"/>
                  <a:gd name="connsiteX18" fmla="*/ 362631 w 1139825"/>
                  <a:gd name="connsiteY18" fmla="*/ 769937 h 1290638"/>
                  <a:gd name="connsiteX19" fmla="*/ 355600 w 1139825"/>
                  <a:gd name="connsiteY19" fmla="*/ 777024 h 1290638"/>
                  <a:gd name="connsiteX20" fmla="*/ 355600 w 1139825"/>
                  <a:gd name="connsiteY20" fmla="*/ 842225 h 1290638"/>
                  <a:gd name="connsiteX21" fmla="*/ 362631 w 1139825"/>
                  <a:gd name="connsiteY21" fmla="*/ 849312 h 1290638"/>
                  <a:gd name="connsiteX22" fmla="*/ 397783 w 1139825"/>
                  <a:gd name="connsiteY22" fmla="*/ 849312 h 1290638"/>
                  <a:gd name="connsiteX23" fmla="*/ 404813 w 1139825"/>
                  <a:gd name="connsiteY23" fmla="*/ 842225 h 1290638"/>
                  <a:gd name="connsiteX24" fmla="*/ 404813 w 1139825"/>
                  <a:gd name="connsiteY24" fmla="*/ 777024 h 1290638"/>
                  <a:gd name="connsiteX25" fmla="*/ 397783 w 1139825"/>
                  <a:gd name="connsiteY25" fmla="*/ 769937 h 1290638"/>
                  <a:gd name="connsiteX26" fmla="*/ 362631 w 1139825"/>
                  <a:gd name="connsiteY26" fmla="*/ 769937 h 1290638"/>
                  <a:gd name="connsiteX27" fmla="*/ 272246 w 1139825"/>
                  <a:gd name="connsiteY27" fmla="*/ 769937 h 1290638"/>
                  <a:gd name="connsiteX28" fmla="*/ 265113 w 1139825"/>
                  <a:gd name="connsiteY28" fmla="*/ 777024 h 1290638"/>
                  <a:gd name="connsiteX29" fmla="*/ 265113 w 1139825"/>
                  <a:gd name="connsiteY29" fmla="*/ 842225 h 1290638"/>
                  <a:gd name="connsiteX30" fmla="*/ 272246 w 1139825"/>
                  <a:gd name="connsiteY30" fmla="*/ 849312 h 1290638"/>
                  <a:gd name="connsiteX31" fmla="*/ 307194 w 1139825"/>
                  <a:gd name="connsiteY31" fmla="*/ 849312 h 1290638"/>
                  <a:gd name="connsiteX32" fmla="*/ 314326 w 1139825"/>
                  <a:gd name="connsiteY32" fmla="*/ 842225 h 1290638"/>
                  <a:gd name="connsiteX33" fmla="*/ 314326 w 1139825"/>
                  <a:gd name="connsiteY33" fmla="*/ 777024 h 1290638"/>
                  <a:gd name="connsiteX34" fmla="*/ 307194 w 1139825"/>
                  <a:gd name="connsiteY34" fmla="*/ 769937 h 1290638"/>
                  <a:gd name="connsiteX35" fmla="*/ 272246 w 1139825"/>
                  <a:gd name="connsiteY35" fmla="*/ 769937 h 1290638"/>
                  <a:gd name="connsiteX36" fmla="*/ 181882 w 1139825"/>
                  <a:gd name="connsiteY36" fmla="*/ 769937 h 1290638"/>
                  <a:gd name="connsiteX37" fmla="*/ 174625 w 1139825"/>
                  <a:gd name="connsiteY37" fmla="*/ 777024 h 1290638"/>
                  <a:gd name="connsiteX38" fmla="*/ 174625 w 1139825"/>
                  <a:gd name="connsiteY38" fmla="*/ 842225 h 1290638"/>
                  <a:gd name="connsiteX39" fmla="*/ 181882 w 1139825"/>
                  <a:gd name="connsiteY39" fmla="*/ 849312 h 1290638"/>
                  <a:gd name="connsiteX40" fmla="*/ 218168 w 1139825"/>
                  <a:gd name="connsiteY40" fmla="*/ 849312 h 1290638"/>
                  <a:gd name="connsiteX41" fmla="*/ 225425 w 1139825"/>
                  <a:gd name="connsiteY41" fmla="*/ 842225 h 1290638"/>
                  <a:gd name="connsiteX42" fmla="*/ 225425 w 1139825"/>
                  <a:gd name="connsiteY42" fmla="*/ 777024 h 1290638"/>
                  <a:gd name="connsiteX43" fmla="*/ 218168 w 1139825"/>
                  <a:gd name="connsiteY43" fmla="*/ 769937 h 1290638"/>
                  <a:gd name="connsiteX44" fmla="*/ 181882 w 1139825"/>
                  <a:gd name="connsiteY44" fmla="*/ 769937 h 1290638"/>
                  <a:gd name="connsiteX45" fmla="*/ 91395 w 1139825"/>
                  <a:gd name="connsiteY45" fmla="*/ 769937 h 1290638"/>
                  <a:gd name="connsiteX46" fmla="*/ 84138 w 1139825"/>
                  <a:gd name="connsiteY46" fmla="*/ 777024 h 1290638"/>
                  <a:gd name="connsiteX47" fmla="*/ 84138 w 1139825"/>
                  <a:gd name="connsiteY47" fmla="*/ 842225 h 1290638"/>
                  <a:gd name="connsiteX48" fmla="*/ 91395 w 1139825"/>
                  <a:gd name="connsiteY48" fmla="*/ 849312 h 1290638"/>
                  <a:gd name="connsiteX49" fmla="*/ 127681 w 1139825"/>
                  <a:gd name="connsiteY49" fmla="*/ 849312 h 1290638"/>
                  <a:gd name="connsiteX50" fmla="*/ 134938 w 1139825"/>
                  <a:gd name="connsiteY50" fmla="*/ 842225 h 1290638"/>
                  <a:gd name="connsiteX51" fmla="*/ 134938 w 1139825"/>
                  <a:gd name="connsiteY51" fmla="*/ 777024 h 1290638"/>
                  <a:gd name="connsiteX52" fmla="*/ 127681 w 1139825"/>
                  <a:gd name="connsiteY52" fmla="*/ 769937 h 1290638"/>
                  <a:gd name="connsiteX53" fmla="*/ 91395 w 1139825"/>
                  <a:gd name="connsiteY53" fmla="*/ 769937 h 1290638"/>
                  <a:gd name="connsiteX54" fmla="*/ 958086 w 1139825"/>
                  <a:gd name="connsiteY54" fmla="*/ 714375 h 1290638"/>
                  <a:gd name="connsiteX55" fmla="*/ 950913 w 1139825"/>
                  <a:gd name="connsiteY55" fmla="*/ 721604 h 1290638"/>
                  <a:gd name="connsiteX56" fmla="*/ 950913 w 1139825"/>
                  <a:gd name="connsiteY56" fmla="*/ 788109 h 1290638"/>
                  <a:gd name="connsiteX57" fmla="*/ 958086 w 1139825"/>
                  <a:gd name="connsiteY57" fmla="*/ 795338 h 1290638"/>
                  <a:gd name="connsiteX58" fmla="*/ 1062804 w 1139825"/>
                  <a:gd name="connsiteY58" fmla="*/ 795338 h 1290638"/>
                  <a:gd name="connsiteX59" fmla="*/ 1069976 w 1139825"/>
                  <a:gd name="connsiteY59" fmla="*/ 788109 h 1290638"/>
                  <a:gd name="connsiteX60" fmla="*/ 1069976 w 1139825"/>
                  <a:gd name="connsiteY60" fmla="*/ 721604 h 1290638"/>
                  <a:gd name="connsiteX61" fmla="*/ 1062804 w 1139825"/>
                  <a:gd name="connsiteY61" fmla="*/ 714375 h 1290638"/>
                  <a:gd name="connsiteX62" fmla="*/ 958086 w 1139825"/>
                  <a:gd name="connsiteY62" fmla="*/ 714375 h 1290638"/>
                  <a:gd name="connsiteX63" fmla="*/ 792890 w 1139825"/>
                  <a:gd name="connsiteY63" fmla="*/ 714375 h 1290638"/>
                  <a:gd name="connsiteX64" fmla="*/ 785813 w 1139825"/>
                  <a:gd name="connsiteY64" fmla="*/ 721604 h 1290638"/>
                  <a:gd name="connsiteX65" fmla="*/ 785813 w 1139825"/>
                  <a:gd name="connsiteY65" fmla="*/ 788109 h 1290638"/>
                  <a:gd name="connsiteX66" fmla="*/ 792890 w 1139825"/>
                  <a:gd name="connsiteY66" fmla="*/ 795338 h 1290638"/>
                  <a:gd name="connsiteX67" fmla="*/ 896211 w 1139825"/>
                  <a:gd name="connsiteY67" fmla="*/ 795338 h 1290638"/>
                  <a:gd name="connsiteX68" fmla="*/ 903288 w 1139825"/>
                  <a:gd name="connsiteY68" fmla="*/ 788109 h 1290638"/>
                  <a:gd name="connsiteX69" fmla="*/ 903288 w 1139825"/>
                  <a:gd name="connsiteY69" fmla="*/ 721604 h 1290638"/>
                  <a:gd name="connsiteX70" fmla="*/ 896211 w 1139825"/>
                  <a:gd name="connsiteY70" fmla="*/ 714375 h 1290638"/>
                  <a:gd name="connsiteX71" fmla="*/ 792890 w 1139825"/>
                  <a:gd name="connsiteY71" fmla="*/ 714375 h 1290638"/>
                  <a:gd name="connsiteX72" fmla="*/ 453345 w 1139825"/>
                  <a:gd name="connsiteY72" fmla="*/ 628650 h 1290638"/>
                  <a:gd name="connsiteX73" fmla="*/ 446088 w 1139825"/>
                  <a:gd name="connsiteY73" fmla="*/ 635801 h 1290638"/>
                  <a:gd name="connsiteX74" fmla="*/ 446088 w 1139825"/>
                  <a:gd name="connsiteY74" fmla="*/ 700874 h 1290638"/>
                  <a:gd name="connsiteX75" fmla="*/ 453345 w 1139825"/>
                  <a:gd name="connsiteY75" fmla="*/ 708025 h 1290638"/>
                  <a:gd name="connsiteX76" fmla="*/ 489631 w 1139825"/>
                  <a:gd name="connsiteY76" fmla="*/ 708025 h 1290638"/>
                  <a:gd name="connsiteX77" fmla="*/ 496888 w 1139825"/>
                  <a:gd name="connsiteY77" fmla="*/ 700874 h 1290638"/>
                  <a:gd name="connsiteX78" fmla="*/ 496888 w 1139825"/>
                  <a:gd name="connsiteY78" fmla="*/ 635801 h 1290638"/>
                  <a:gd name="connsiteX79" fmla="*/ 489631 w 1139825"/>
                  <a:gd name="connsiteY79" fmla="*/ 628650 h 1290638"/>
                  <a:gd name="connsiteX80" fmla="*/ 453345 w 1139825"/>
                  <a:gd name="connsiteY80" fmla="*/ 628650 h 1290638"/>
                  <a:gd name="connsiteX81" fmla="*/ 362631 w 1139825"/>
                  <a:gd name="connsiteY81" fmla="*/ 628650 h 1290638"/>
                  <a:gd name="connsiteX82" fmla="*/ 355600 w 1139825"/>
                  <a:gd name="connsiteY82" fmla="*/ 635801 h 1290638"/>
                  <a:gd name="connsiteX83" fmla="*/ 355600 w 1139825"/>
                  <a:gd name="connsiteY83" fmla="*/ 700874 h 1290638"/>
                  <a:gd name="connsiteX84" fmla="*/ 362631 w 1139825"/>
                  <a:gd name="connsiteY84" fmla="*/ 708025 h 1290638"/>
                  <a:gd name="connsiteX85" fmla="*/ 397783 w 1139825"/>
                  <a:gd name="connsiteY85" fmla="*/ 708025 h 1290638"/>
                  <a:gd name="connsiteX86" fmla="*/ 404813 w 1139825"/>
                  <a:gd name="connsiteY86" fmla="*/ 700874 h 1290638"/>
                  <a:gd name="connsiteX87" fmla="*/ 404813 w 1139825"/>
                  <a:gd name="connsiteY87" fmla="*/ 635801 h 1290638"/>
                  <a:gd name="connsiteX88" fmla="*/ 397783 w 1139825"/>
                  <a:gd name="connsiteY88" fmla="*/ 628650 h 1290638"/>
                  <a:gd name="connsiteX89" fmla="*/ 362631 w 1139825"/>
                  <a:gd name="connsiteY89" fmla="*/ 628650 h 1290638"/>
                  <a:gd name="connsiteX90" fmla="*/ 272246 w 1139825"/>
                  <a:gd name="connsiteY90" fmla="*/ 628650 h 1290638"/>
                  <a:gd name="connsiteX91" fmla="*/ 265113 w 1139825"/>
                  <a:gd name="connsiteY91" fmla="*/ 635801 h 1290638"/>
                  <a:gd name="connsiteX92" fmla="*/ 265113 w 1139825"/>
                  <a:gd name="connsiteY92" fmla="*/ 700874 h 1290638"/>
                  <a:gd name="connsiteX93" fmla="*/ 272246 w 1139825"/>
                  <a:gd name="connsiteY93" fmla="*/ 708025 h 1290638"/>
                  <a:gd name="connsiteX94" fmla="*/ 307194 w 1139825"/>
                  <a:gd name="connsiteY94" fmla="*/ 708025 h 1290638"/>
                  <a:gd name="connsiteX95" fmla="*/ 314326 w 1139825"/>
                  <a:gd name="connsiteY95" fmla="*/ 700874 h 1290638"/>
                  <a:gd name="connsiteX96" fmla="*/ 314326 w 1139825"/>
                  <a:gd name="connsiteY96" fmla="*/ 635801 h 1290638"/>
                  <a:gd name="connsiteX97" fmla="*/ 307194 w 1139825"/>
                  <a:gd name="connsiteY97" fmla="*/ 628650 h 1290638"/>
                  <a:gd name="connsiteX98" fmla="*/ 272246 w 1139825"/>
                  <a:gd name="connsiteY98" fmla="*/ 628650 h 1290638"/>
                  <a:gd name="connsiteX99" fmla="*/ 181882 w 1139825"/>
                  <a:gd name="connsiteY99" fmla="*/ 628650 h 1290638"/>
                  <a:gd name="connsiteX100" fmla="*/ 174625 w 1139825"/>
                  <a:gd name="connsiteY100" fmla="*/ 635801 h 1290638"/>
                  <a:gd name="connsiteX101" fmla="*/ 174625 w 1139825"/>
                  <a:gd name="connsiteY101" fmla="*/ 700874 h 1290638"/>
                  <a:gd name="connsiteX102" fmla="*/ 181882 w 1139825"/>
                  <a:gd name="connsiteY102" fmla="*/ 708025 h 1290638"/>
                  <a:gd name="connsiteX103" fmla="*/ 218168 w 1139825"/>
                  <a:gd name="connsiteY103" fmla="*/ 708025 h 1290638"/>
                  <a:gd name="connsiteX104" fmla="*/ 225425 w 1139825"/>
                  <a:gd name="connsiteY104" fmla="*/ 700874 h 1290638"/>
                  <a:gd name="connsiteX105" fmla="*/ 225425 w 1139825"/>
                  <a:gd name="connsiteY105" fmla="*/ 635801 h 1290638"/>
                  <a:gd name="connsiteX106" fmla="*/ 218168 w 1139825"/>
                  <a:gd name="connsiteY106" fmla="*/ 628650 h 1290638"/>
                  <a:gd name="connsiteX107" fmla="*/ 181882 w 1139825"/>
                  <a:gd name="connsiteY107" fmla="*/ 628650 h 1290638"/>
                  <a:gd name="connsiteX108" fmla="*/ 958086 w 1139825"/>
                  <a:gd name="connsiteY108" fmla="*/ 596900 h 1290638"/>
                  <a:gd name="connsiteX109" fmla="*/ 950913 w 1139825"/>
                  <a:gd name="connsiteY109" fmla="*/ 603987 h 1290638"/>
                  <a:gd name="connsiteX110" fmla="*/ 950913 w 1139825"/>
                  <a:gd name="connsiteY110" fmla="*/ 669188 h 1290638"/>
                  <a:gd name="connsiteX111" fmla="*/ 958086 w 1139825"/>
                  <a:gd name="connsiteY111" fmla="*/ 676275 h 1290638"/>
                  <a:gd name="connsiteX112" fmla="*/ 1062804 w 1139825"/>
                  <a:gd name="connsiteY112" fmla="*/ 676275 h 1290638"/>
                  <a:gd name="connsiteX113" fmla="*/ 1069976 w 1139825"/>
                  <a:gd name="connsiteY113" fmla="*/ 669188 h 1290638"/>
                  <a:gd name="connsiteX114" fmla="*/ 1069976 w 1139825"/>
                  <a:gd name="connsiteY114" fmla="*/ 603987 h 1290638"/>
                  <a:gd name="connsiteX115" fmla="*/ 1062804 w 1139825"/>
                  <a:gd name="connsiteY115" fmla="*/ 596900 h 1290638"/>
                  <a:gd name="connsiteX116" fmla="*/ 958086 w 1139825"/>
                  <a:gd name="connsiteY116" fmla="*/ 596900 h 1290638"/>
                  <a:gd name="connsiteX117" fmla="*/ 792890 w 1139825"/>
                  <a:gd name="connsiteY117" fmla="*/ 596900 h 1290638"/>
                  <a:gd name="connsiteX118" fmla="*/ 785813 w 1139825"/>
                  <a:gd name="connsiteY118" fmla="*/ 603987 h 1290638"/>
                  <a:gd name="connsiteX119" fmla="*/ 785813 w 1139825"/>
                  <a:gd name="connsiteY119" fmla="*/ 669188 h 1290638"/>
                  <a:gd name="connsiteX120" fmla="*/ 792890 w 1139825"/>
                  <a:gd name="connsiteY120" fmla="*/ 676275 h 1290638"/>
                  <a:gd name="connsiteX121" fmla="*/ 896211 w 1139825"/>
                  <a:gd name="connsiteY121" fmla="*/ 676275 h 1290638"/>
                  <a:gd name="connsiteX122" fmla="*/ 903288 w 1139825"/>
                  <a:gd name="connsiteY122" fmla="*/ 669188 h 1290638"/>
                  <a:gd name="connsiteX123" fmla="*/ 903288 w 1139825"/>
                  <a:gd name="connsiteY123" fmla="*/ 603987 h 1290638"/>
                  <a:gd name="connsiteX124" fmla="*/ 896211 w 1139825"/>
                  <a:gd name="connsiteY124" fmla="*/ 596900 h 1290638"/>
                  <a:gd name="connsiteX125" fmla="*/ 792890 w 1139825"/>
                  <a:gd name="connsiteY125" fmla="*/ 596900 h 1290638"/>
                  <a:gd name="connsiteX126" fmla="*/ 453345 w 1139825"/>
                  <a:gd name="connsiteY126" fmla="*/ 487362 h 1290638"/>
                  <a:gd name="connsiteX127" fmla="*/ 446088 w 1139825"/>
                  <a:gd name="connsiteY127" fmla="*/ 494513 h 1290638"/>
                  <a:gd name="connsiteX128" fmla="*/ 446088 w 1139825"/>
                  <a:gd name="connsiteY128" fmla="*/ 559586 h 1290638"/>
                  <a:gd name="connsiteX129" fmla="*/ 453345 w 1139825"/>
                  <a:gd name="connsiteY129" fmla="*/ 566737 h 1290638"/>
                  <a:gd name="connsiteX130" fmla="*/ 489631 w 1139825"/>
                  <a:gd name="connsiteY130" fmla="*/ 566737 h 1290638"/>
                  <a:gd name="connsiteX131" fmla="*/ 496888 w 1139825"/>
                  <a:gd name="connsiteY131" fmla="*/ 559586 h 1290638"/>
                  <a:gd name="connsiteX132" fmla="*/ 496888 w 1139825"/>
                  <a:gd name="connsiteY132" fmla="*/ 494513 h 1290638"/>
                  <a:gd name="connsiteX133" fmla="*/ 489631 w 1139825"/>
                  <a:gd name="connsiteY133" fmla="*/ 487362 h 1290638"/>
                  <a:gd name="connsiteX134" fmla="*/ 453345 w 1139825"/>
                  <a:gd name="connsiteY134" fmla="*/ 487362 h 1290638"/>
                  <a:gd name="connsiteX135" fmla="*/ 362631 w 1139825"/>
                  <a:gd name="connsiteY135" fmla="*/ 487362 h 1290638"/>
                  <a:gd name="connsiteX136" fmla="*/ 355600 w 1139825"/>
                  <a:gd name="connsiteY136" fmla="*/ 494513 h 1290638"/>
                  <a:gd name="connsiteX137" fmla="*/ 355600 w 1139825"/>
                  <a:gd name="connsiteY137" fmla="*/ 559586 h 1290638"/>
                  <a:gd name="connsiteX138" fmla="*/ 362631 w 1139825"/>
                  <a:gd name="connsiteY138" fmla="*/ 566737 h 1290638"/>
                  <a:gd name="connsiteX139" fmla="*/ 397783 w 1139825"/>
                  <a:gd name="connsiteY139" fmla="*/ 566737 h 1290638"/>
                  <a:gd name="connsiteX140" fmla="*/ 404813 w 1139825"/>
                  <a:gd name="connsiteY140" fmla="*/ 559586 h 1290638"/>
                  <a:gd name="connsiteX141" fmla="*/ 404813 w 1139825"/>
                  <a:gd name="connsiteY141" fmla="*/ 494513 h 1290638"/>
                  <a:gd name="connsiteX142" fmla="*/ 397783 w 1139825"/>
                  <a:gd name="connsiteY142" fmla="*/ 487362 h 1290638"/>
                  <a:gd name="connsiteX143" fmla="*/ 362631 w 1139825"/>
                  <a:gd name="connsiteY143" fmla="*/ 487362 h 1290638"/>
                  <a:gd name="connsiteX144" fmla="*/ 272246 w 1139825"/>
                  <a:gd name="connsiteY144" fmla="*/ 487362 h 1290638"/>
                  <a:gd name="connsiteX145" fmla="*/ 265113 w 1139825"/>
                  <a:gd name="connsiteY145" fmla="*/ 494513 h 1290638"/>
                  <a:gd name="connsiteX146" fmla="*/ 265113 w 1139825"/>
                  <a:gd name="connsiteY146" fmla="*/ 559586 h 1290638"/>
                  <a:gd name="connsiteX147" fmla="*/ 272246 w 1139825"/>
                  <a:gd name="connsiteY147" fmla="*/ 566737 h 1290638"/>
                  <a:gd name="connsiteX148" fmla="*/ 307194 w 1139825"/>
                  <a:gd name="connsiteY148" fmla="*/ 566737 h 1290638"/>
                  <a:gd name="connsiteX149" fmla="*/ 314326 w 1139825"/>
                  <a:gd name="connsiteY149" fmla="*/ 559586 h 1290638"/>
                  <a:gd name="connsiteX150" fmla="*/ 314326 w 1139825"/>
                  <a:gd name="connsiteY150" fmla="*/ 494513 h 1290638"/>
                  <a:gd name="connsiteX151" fmla="*/ 307194 w 1139825"/>
                  <a:gd name="connsiteY151" fmla="*/ 487362 h 1290638"/>
                  <a:gd name="connsiteX152" fmla="*/ 272246 w 1139825"/>
                  <a:gd name="connsiteY152" fmla="*/ 487362 h 1290638"/>
                  <a:gd name="connsiteX153" fmla="*/ 958086 w 1139825"/>
                  <a:gd name="connsiteY153" fmla="*/ 477837 h 1290638"/>
                  <a:gd name="connsiteX154" fmla="*/ 950913 w 1139825"/>
                  <a:gd name="connsiteY154" fmla="*/ 484924 h 1290638"/>
                  <a:gd name="connsiteX155" fmla="*/ 950913 w 1139825"/>
                  <a:gd name="connsiteY155" fmla="*/ 550125 h 1290638"/>
                  <a:gd name="connsiteX156" fmla="*/ 958086 w 1139825"/>
                  <a:gd name="connsiteY156" fmla="*/ 557212 h 1290638"/>
                  <a:gd name="connsiteX157" fmla="*/ 1062804 w 1139825"/>
                  <a:gd name="connsiteY157" fmla="*/ 557212 h 1290638"/>
                  <a:gd name="connsiteX158" fmla="*/ 1069976 w 1139825"/>
                  <a:gd name="connsiteY158" fmla="*/ 550125 h 1290638"/>
                  <a:gd name="connsiteX159" fmla="*/ 1069976 w 1139825"/>
                  <a:gd name="connsiteY159" fmla="*/ 484924 h 1290638"/>
                  <a:gd name="connsiteX160" fmla="*/ 1062804 w 1139825"/>
                  <a:gd name="connsiteY160" fmla="*/ 477837 h 1290638"/>
                  <a:gd name="connsiteX161" fmla="*/ 958086 w 1139825"/>
                  <a:gd name="connsiteY161" fmla="*/ 477837 h 1290638"/>
                  <a:gd name="connsiteX162" fmla="*/ 792890 w 1139825"/>
                  <a:gd name="connsiteY162" fmla="*/ 477837 h 1290638"/>
                  <a:gd name="connsiteX163" fmla="*/ 785813 w 1139825"/>
                  <a:gd name="connsiteY163" fmla="*/ 484924 h 1290638"/>
                  <a:gd name="connsiteX164" fmla="*/ 785813 w 1139825"/>
                  <a:gd name="connsiteY164" fmla="*/ 550125 h 1290638"/>
                  <a:gd name="connsiteX165" fmla="*/ 792890 w 1139825"/>
                  <a:gd name="connsiteY165" fmla="*/ 557212 h 1290638"/>
                  <a:gd name="connsiteX166" fmla="*/ 896211 w 1139825"/>
                  <a:gd name="connsiteY166" fmla="*/ 557212 h 1290638"/>
                  <a:gd name="connsiteX167" fmla="*/ 903288 w 1139825"/>
                  <a:gd name="connsiteY167" fmla="*/ 550125 h 1290638"/>
                  <a:gd name="connsiteX168" fmla="*/ 903288 w 1139825"/>
                  <a:gd name="connsiteY168" fmla="*/ 484924 h 1290638"/>
                  <a:gd name="connsiteX169" fmla="*/ 896211 w 1139825"/>
                  <a:gd name="connsiteY169" fmla="*/ 477837 h 1290638"/>
                  <a:gd name="connsiteX170" fmla="*/ 792890 w 1139825"/>
                  <a:gd name="connsiteY170" fmla="*/ 477837 h 1290638"/>
                  <a:gd name="connsiteX171" fmla="*/ 958086 w 1139825"/>
                  <a:gd name="connsiteY171" fmla="*/ 358775 h 1290638"/>
                  <a:gd name="connsiteX172" fmla="*/ 950913 w 1139825"/>
                  <a:gd name="connsiteY172" fmla="*/ 366004 h 1290638"/>
                  <a:gd name="connsiteX173" fmla="*/ 950913 w 1139825"/>
                  <a:gd name="connsiteY173" fmla="*/ 432509 h 1290638"/>
                  <a:gd name="connsiteX174" fmla="*/ 958086 w 1139825"/>
                  <a:gd name="connsiteY174" fmla="*/ 439738 h 1290638"/>
                  <a:gd name="connsiteX175" fmla="*/ 1062804 w 1139825"/>
                  <a:gd name="connsiteY175" fmla="*/ 439738 h 1290638"/>
                  <a:gd name="connsiteX176" fmla="*/ 1069976 w 1139825"/>
                  <a:gd name="connsiteY176" fmla="*/ 432509 h 1290638"/>
                  <a:gd name="connsiteX177" fmla="*/ 1069976 w 1139825"/>
                  <a:gd name="connsiteY177" fmla="*/ 366004 h 1290638"/>
                  <a:gd name="connsiteX178" fmla="*/ 1062804 w 1139825"/>
                  <a:gd name="connsiteY178" fmla="*/ 358775 h 1290638"/>
                  <a:gd name="connsiteX179" fmla="*/ 958086 w 1139825"/>
                  <a:gd name="connsiteY179" fmla="*/ 358775 h 1290638"/>
                  <a:gd name="connsiteX180" fmla="*/ 792890 w 1139825"/>
                  <a:gd name="connsiteY180" fmla="*/ 358775 h 1290638"/>
                  <a:gd name="connsiteX181" fmla="*/ 785813 w 1139825"/>
                  <a:gd name="connsiteY181" fmla="*/ 366004 h 1290638"/>
                  <a:gd name="connsiteX182" fmla="*/ 785813 w 1139825"/>
                  <a:gd name="connsiteY182" fmla="*/ 432509 h 1290638"/>
                  <a:gd name="connsiteX183" fmla="*/ 792890 w 1139825"/>
                  <a:gd name="connsiteY183" fmla="*/ 439738 h 1290638"/>
                  <a:gd name="connsiteX184" fmla="*/ 896211 w 1139825"/>
                  <a:gd name="connsiteY184" fmla="*/ 439738 h 1290638"/>
                  <a:gd name="connsiteX185" fmla="*/ 903288 w 1139825"/>
                  <a:gd name="connsiteY185" fmla="*/ 432509 h 1290638"/>
                  <a:gd name="connsiteX186" fmla="*/ 903288 w 1139825"/>
                  <a:gd name="connsiteY186" fmla="*/ 366004 h 1290638"/>
                  <a:gd name="connsiteX187" fmla="*/ 896211 w 1139825"/>
                  <a:gd name="connsiteY187" fmla="*/ 358775 h 1290638"/>
                  <a:gd name="connsiteX188" fmla="*/ 792890 w 1139825"/>
                  <a:gd name="connsiteY188" fmla="*/ 358775 h 1290638"/>
                  <a:gd name="connsiteX189" fmla="*/ 453345 w 1139825"/>
                  <a:gd name="connsiteY189" fmla="*/ 346075 h 1290638"/>
                  <a:gd name="connsiteX190" fmla="*/ 446088 w 1139825"/>
                  <a:gd name="connsiteY190" fmla="*/ 353304 h 1290638"/>
                  <a:gd name="connsiteX191" fmla="*/ 446088 w 1139825"/>
                  <a:gd name="connsiteY191" fmla="*/ 419809 h 1290638"/>
                  <a:gd name="connsiteX192" fmla="*/ 453345 w 1139825"/>
                  <a:gd name="connsiteY192" fmla="*/ 427038 h 1290638"/>
                  <a:gd name="connsiteX193" fmla="*/ 489631 w 1139825"/>
                  <a:gd name="connsiteY193" fmla="*/ 427038 h 1290638"/>
                  <a:gd name="connsiteX194" fmla="*/ 496888 w 1139825"/>
                  <a:gd name="connsiteY194" fmla="*/ 419809 h 1290638"/>
                  <a:gd name="connsiteX195" fmla="*/ 496888 w 1139825"/>
                  <a:gd name="connsiteY195" fmla="*/ 353304 h 1290638"/>
                  <a:gd name="connsiteX196" fmla="*/ 489631 w 1139825"/>
                  <a:gd name="connsiteY196" fmla="*/ 346075 h 1290638"/>
                  <a:gd name="connsiteX197" fmla="*/ 453345 w 1139825"/>
                  <a:gd name="connsiteY197" fmla="*/ 346075 h 1290638"/>
                  <a:gd name="connsiteX198" fmla="*/ 362631 w 1139825"/>
                  <a:gd name="connsiteY198" fmla="*/ 346075 h 1290638"/>
                  <a:gd name="connsiteX199" fmla="*/ 355600 w 1139825"/>
                  <a:gd name="connsiteY199" fmla="*/ 353304 h 1290638"/>
                  <a:gd name="connsiteX200" fmla="*/ 355600 w 1139825"/>
                  <a:gd name="connsiteY200" fmla="*/ 419809 h 1290638"/>
                  <a:gd name="connsiteX201" fmla="*/ 362631 w 1139825"/>
                  <a:gd name="connsiteY201" fmla="*/ 427038 h 1290638"/>
                  <a:gd name="connsiteX202" fmla="*/ 397783 w 1139825"/>
                  <a:gd name="connsiteY202" fmla="*/ 427038 h 1290638"/>
                  <a:gd name="connsiteX203" fmla="*/ 404813 w 1139825"/>
                  <a:gd name="connsiteY203" fmla="*/ 419809 h 1290638"/>
                  <a:gd name="connsiteX204" fmla="*/ 404813 w 1139825"/>
                  <a:gd name="connsiteY204" fmla="*/ 353304 h 1290638"/>
                  <a:gd name="connsiteX205" fmla="*/ 397783 w 1139825"/>
                  <a:gd name="connsiteY205" fmla="*/ 346075 h 1290638"/>
                  <a:gd name="connsiteX206" fmla="*/ 362631 w 1139825"/>
                  <a:gd name="connsiteY206" fmla="*/ 346075 h 1290638"/>
                  <a:gd name="connsiteX207" fmla="*/ 285558 w 1139825"/>
                  <a:gd name="connsiteY207" fmla="*/ 266700 h 1290638"/>
                  <a:gd name="connsiteX208" fmla="*/ 573258 w 1139825"/>
                  <a:gd name="connsiteY208" fmla="*/ 266700 h 1290638"/>
                  <a:gd name="connsiteX209" fmla="*/ 588963 w 1139825"/>
                  <a:gd name="connsiteY209" fmla="*/ 282398 h 1290638"/>
                  <a:gd name="connsiteX210" fmla="*/ 588963 w 1139825"/>
                  <a:gd name="connsiteY210" fmla="*/ 858229 h 1290638"/>
                  <a:gd name="connsiteX211" fmla="*/ 566832 w 1139825"/>
                  <a:gd name="connsiteY211" fmla="*/ 861084 h 1290638"/>
                  <a:gd name="connsiteX212" fmla="*/ 491160 w 1139825"/>
                  <a:gd name="connsiteY212" fmla="*/ 874641 h 1290638"/>
                  <a:gd name="connsiteX213" fmla="*/ 305547 w 1139825"/>
                  <a:gd name="connsiteY213" fmla="*/ 950277 h 1290638"/>
                  <a:gd name="connsiteX214" fmla="*/ 285558 w 1139825"/>
                  <a:gd name="connsiteY214" fmla="*/ 962407 h 1290638"/>
                  <a:gd name="connsiteX215" fmla="*/ 284130 w 1139825"/>
                  <a:gd name="connsiteY215" fmla="*/ 958839 h 1290638"/>
                  <a:gd name="connsiteX216" fmla="*/ 240583 w 1139825"/>
                  <a:gd name="connsiteY216" fmla="*/ 930298 h 1290638"/>
                  <a:gd name="connsiteX217" fmla="*/ 185613 w 1139825"/>
                  <a:gd name="connsiteY217" fmla="*/ 930298 h 1290638"/>
                  <a:gd name="connsiteX218" fmla="*/ 138496 w 1139825"/>
                  <a:gd name="connsiteY218" fmla="*/ 973110 h 1290638"/>
                  <a:gd name="connsiteX219" fmla="*/ 107084 w 1139825"/>
                  <a:gd name="connsiteY219" fmla="*/ 1290638 h 1290638"/>
                  <a:gd name="connsiteX220" fmla="*/ 31412 w 1139825"/>
                  <a:gd name="connsiteY220" fmla="*/ 1290638 h 1290638"/>
                  <a:gd name="connsiteX221" fmla="*/ 15706 w 1139825"/>
                  <a:gd name="connsiteY221" fmla="*/ 1290638 h 1290638"/>
                  <a:gd name="connsiteX222" fmla="*/ 0 w 1139825"/>
                  <a:gd name="connsiteY222" fmla="*/ 1290638 h 1290638"/>
                  <a:gd name="connsiteX223" fmla="*/ 0 w 1139825"/>
                  <a:gd name="connsiteY223" fmla="*/ 788302 h 1290638"/>
                  <a:gd name="connsiteX224" fmla="*/ 2142 w 1139825"/>
                  <a:gd name="connsiteY224" fmla="*/ 780453 h 1290638"/>
                  <a:gd name="connsiteX225" fmla="*/ 269852 w 1139825"/>
                  <a:gd name="connsiteY225" fmla="*/ 343763 h 1290638"/>
                  <a:gd name="connsiteX226" fmla="*/ 269852 w 1139825"/>
                  <a:gd name="connsiteY226" fmla="*/ 282398 h 1290638"/>
                  <a:gd name="connsiteX227" fmla="*/ 285558 w 1139825"/>
                  <a:gd name="connsiteY227" fmla="*/ 266700 h 1290638"/>
                  <a:gd name="connsiteX228" fmla="*/ 958086 w 1139825"/>
                  <a:gd name="connsiteY228" fmla="*/ 241300 h 1290638"/>
                  <a:gd name="connsiteX229" fmla="*/ 950913 w 1139825"/>
                  <a:gd name="connsiteY229" fmla="*/ 248387 h 1290638"/>
                  <a:gd name="connsiteX230" fmla="*/ 950913 w 1139825"/>
                  <a:gd name="connsiteY230" fmla="*/ 313588 h 1290638"/>
                  <a:gd name="connsiteX231" fmla="*/ 958086 w 1139825"/>
                  <a:gd name="connsiteY231" fmla="*/ 320675 h 1290638"/>
                  <a:gd name="connsiteX232" fmla="*/ 1062804 w 1139825"/>
                  <a:gd name="connsiteY232" fmla="*/ 320675 h 1290638"/>
                  <a:gd name="connsiteX233" fmla="*/ 1069976 w 1139825"/>
                  <a:gd name="connsiteY233" fmla="*/ 313588 h 1290638"/>
                  <a:gd name="connsiteX234" fmla="*/ 1069976 w 1139825"/>
                  <a:gd name="connsiteY234" fmla="*/ 248387 h 1290638"/>
                  <a:gd name="connsiteX235" fmla="*/ 1062804 w 1139825"/>
                  <a:gd name="connsiteY235" fmla="*/ 241300 h 1290638"/>
                  <a:gd name="connsiteX236" fmla="*/ 958086 w 1139825"/>
                  <a:gd name="connsiteY236" fmla="*/ 241300 h 1290638"/>
                  <a:gd name="connsiteX237" fmla="*/ 792890 w 1139825"/>
                  <a:gd name="connsiteY237" fmla="*/ 241300 h 1290638"/>
                  <a:gd name="connsiteX238" fmla="*/ 785813 w 1139825"/>
                  <a:gd name="connsiteY238" fmla="*/ 248387 h 1290638"/>
                  <a:gd name="connsiteX239" fmla="*/ 785813 w 1139825"/>
                  <a:gd name="connsiteY239" fmla="*/ 313588 h 1290638"/>
                  <a:gd name="connsiteX240" fmla="*/ 792890 w 1139825"/>
                  <a:gd name="connsiteY240" fmla="*/ 320675 h 1290638"/>
                  <a:gd name="connsiteX241" fmla="*/ 896211 w 1139825"/>
                  <a:gd name="connsiteY241" fmla="*/ 320675 h 1290638"/>
                  <a:gd name="connsiteX242" fmla="*/ 903288 w 1139825"/>
                  <a:gd name="connsiteY242" fmla="*/ 313588 h 1290638"/>
                  <a:gd name="connsiteX243" fmla="*/ 903288 w 1139825"/>
                  <a:gd name="connsiteY243" fmla="*/ 248387 h 1290638"/>
                  <a:gd name="connsiteX244" fmla="*/ 896211 w 1139825"/>
                  <a:gd name="connsiteY244" fmla="*/ 241300 h 1290638"/>
                  <a:gd name="connsiteX245" fmla="*/ 792890 w 1139825"/>
                  <a:gd name="connsiteY245" fmla="*/ 241300 h 1290638"/>
                  <a:gd name="connsiteX246" fmla="*/ 927458 w 1139825"/>
                  <a:gd name="connsiteY246" fmla="*/ 0 h 1290638"/>
                  <a:gd name="connsiteX247" fmla="*/ 943189 w 1139825"/>
                  <a:gd name="connsiteY247" fmla="*/ 15692 h 1290638"/>
                  <a:gd name="connsiteX248" fmla="*/ 943189 w 1139825"/>
                  <a:gd name="connsiteY248" fmla="*/ 108416 h 1290638"/>
                  <a:gd name="connsiteX249" fmla="*/ 1081192 w 1139825"/>
                  <a:gd name="connsiteY249" fmla="*/ 108416 h 1290638"/>
                  <a:gd name="connsiteX250" fmla="*/ 1096923 w 1139825"/>
                  <a:gd name="connsiteY250" fmla="*/ 124107 h 1290638"/>
                  <a:gd name="connsiteX251" fmla="*/ 1096923 w 1139825"/>
                  <a:gd name="connsiteY251" fmla="*/ 169043 h 1290638"/>
                  <a:gd name="connsiteX252" fmla="*/ 1124809 w 1139825"/>
                  <a:gd name="connsiteY252" fmla="*/ 169043 h 1290638"/>
                  <a:gd name="connsiteX253" fmla="*/ 1139825 w 1139825"/>
                  <a:gd name="connsiteY253" fmla="*/ 184734 h 1290638"/>
                  <a:gd name="connsiteX254" fmla="*/ 1139825 w 1139825"/>
                  <a:gd name="connsiteY254" fmla="*/ 933656 h 1290638"/>
                  <a:gd name="connsiteX255" fmla="*/ 1126954 w 1139825"/>
                  <a:gd name="connsiteY255" fmla="*/ 931516 h 1290638"/>
                  <a:gd name="connsiteX256" fmla="*/ 1124809 w 1139825"/>
                  <a:gd name="connsiteY256" fmla="*/ 931516 h 1290638"/>
                  <a:gd name="connsiteX257" fmla="*/ 1109078 w 1139825"/>
                  <a:gd name="connsiteY257" fmla="*/ 931516 h 1290638"/>
                  <a:gd name="connsiteX258" fmla="*/ 1071896 w 1139825"/>
                  <a:gd name="connsiteY258" fmla="*/ 931516 h 1290638"/>
                  <a:gd name="connsiteX259" fmla="*/ 1026849 w 1139825"/>
                  <a:gd name="connsiteY259" fmla="*/ 963613 h 1290638"/>
                  <a:gd name="connsiteX260" fmla="*/ 903861 w 1139825"/>
                  <a:gd name="connsiteY260" fmla="*/ 901560 h 1290638"/>
                  <a:gd name="connsiteX261" fmla="*/ 903861 w 1139825"/>
                  <a:gd name="connsiteY261" fmla="*/ 840219 h 1290638"/>
                  <a:gd name="connsiteX262" fmla="*/ 896711 w 1139825"/>
                  <a:gd name="connsiteY262" fmla="*/ 833087 h 1290638"/>
                  <a:gd name="connsiteX263" fmla="*/ 792315 w 1139825"/>
                  <a:gd name="connsiteY263" fmla="*/ 833087 h 1290638"/>
                  <a:gd name="connsiteX264" fmla="*/ 785164 w 1139825"/>
                  <a:gd name="connsiteY264" fmla="*/ 840219 h 1290638"/>
                  <a:gd name="connsiteX265" fmla="*/ 785164 w 1139825"/>
                  <a:gd name="connsiteY265" fmla="*/ 868036 h 1290638"/>
                  <a:gd name="connsiteX266" fmla="*/ 745837 w 1139825"/>
                  <a:gd name="connsiteY266" fmla="*/ 861617 h 1290638"/>
                  <a:gd name="connsiteX267" fmla="*/ 730106 w 1139825"/>
                  <a:gd name="connsiteY267" fmla="*/ 860191 h 1290638"/>
                  <a:gd name="connsiteX268" fmla="*/ 714375 w 1139825"/>
                  <a:gd name="connsiteY268" fmla="*/ 858051 h 1290638"/>
                  <a:gd name="connsiteX269" fmla="*/ 714375 w 1139825"/>
                  <a:gd name="connsiteY269" fmla="*/ 184734 h 1290638"/>
                  <a:gd name="connsiteX270" fmla="*/ 730106 w 1139825"/>
                  <a:gd name="connsiteY270" fmla="*/ 169043 h 1290638"/>
                  <a:gd name="connsiteX271" fmla="*/ 758708 w 1139825"/>
                  <a:gd name="connsiteY271" fmla="*/ 169043 h 1290638"/>
                  <a:gd name="connsiteX272" fmla="*/ 758708 w 1139825"/>
                  <a:gd name="connsiteY272" fmla="*/ 124107 h 1290638"/>
                  <a:gd name="connsiteX273" fmla="*/ 774439 w 1139825"/>
                  <a:gd name="connsiteY273" fmla="*/ 108416 h 1290638"/>
                  <a:gd name="connsiteX274" fmla="*/ 911727 w 1139825"/>
                  <a:gd name="connsiteY274" fmla="*/ 108416 h 1290638"/>
                  <a:gd name="connsiteX275" fmla="*/ 911727 w 1139825"/>
                  <a:gd name="connsiteY275" fmla="*/ 15692 h 1290638"/>
                  <a:gd name="connsiteX276" fmla="*/ 927458 w 1139825"/>
                  <a:gd name="connsiteY276" fmla="*/ 0 h 129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Lst>
                <a:rect l="l" t="t" r="r" b="b"/>
                <a:pathLst>
                  <a:path w="1139825" h="1290638">
                    <a:moveTo>
                      <a:pt x="958086" y="833437"/>
                    </a:moveTo>
                    <a:cubicBezTo>
                      <a:pt x="953782" y="833437"/>
                      <a:pt x="950913" y="836981"/>
                      <a:pt x="950913" y="840524"/>
                    </a:cubicBezTo>
                    <a:cubicBezTo>
                      <a:pt x="950913" y="840524"/>
                      <a:pt x="950913" y="840524"/>
                      <a:pt x="950913" y="905725"/>
                    </a:cubicBezTo>
                    <a:cubicBezTo>
                      <a:pt x="950913" y="909977"/>
                      <a:pt x="953782" y="912812"/>
                      <a:pt x="958086" y="912812"/>
                    </a:cubicBezTo>
                    <a:cubicBezTo>
                      <a:pt x="958086" y="912812"/>
                      <a:pt x="958086" y="912812"/>
                      <a:pt x="1062804" y="912812"/>
                    </a:cubicBezTo>
                    <a:cubicBezTo>
                      <a:pt x="1067107" y="912812"/>
                      <a:pt x="1069976" y="909977"/>
                      <a:pt x="1069976" y="905725"/>
                    </a:cubicBezTo>
                    <a:cubicBezTo>
                      <a:pt x="1069976" y="905725"/>
                      <a:pt x="1069976" y="905725"/>
                      <a:pt x="1069976" y="840524"/>
                    </a:cubicBezTo>
                    <a:cubicBezTo>
                      <a:pt x="1069976" y="836981"/>
                      <a:pt x="1067107" y="833437"/>
                      <a:pt x="1062804" y="833437"/>
                    </a:cubicBezTo>
                    <a:cubicBezTo>
                      <a:pt x="1062804" y="833437"/>
                      <a:pt x="1062804" y="833437"/>
                      <a:pt x="958086" y="833437"/>
                    </a:cubicBezTo>
                    <a:close/>
                    <a:moveTo>
                      <a:pt x="453345" y="769937"/>
                    </a:moveTo>
                    <a:cubicBezTo>
                      <a:pt x="449717" y="769937"/>
                      <a:pt x="446088" y="773481"/>
                      <a:pt x="446088" y="777024"/>
                    </a:cubicBezTo>
                    <a:cubicBezTo>
                      <a:pt x="446088" y="777024"/>
                      <a:pt x="446088" y="777024"/>
                      <a:pt x="446088" y="842225"/>
                    </a:cubicBezTo>
                    <a:cubicBezTo>
                      <a:pt x="446088" y="846477"/>
                      <a:pt x="449717" y="849312"/>
                      <a:pt x="453345" y="849312"/>
                    </a:cubicBezTo>
                    <a:cubicBezTo>
                      <a:pt x="453345" y="849312"/>
                      <a:pt x="453345" y="849312"/>
                      <a:pt x="489631" y="849312"/>
                    </a:cubicBezTo>
                    <a:cubicBezTo>
                      <a:pt x="493985" y="849312"/>
                      <a:pt x="496888" y="846477"/>
                      <a:pt x="496888" y="842225"/>
                    </a:cubicBezTo>
                    <a:cubicBezTo>
                      <a:pt x="496888" y="842225"/>
                      <a:pt x="496888" y="842225"/>
                      <a:pt x="496888" y="777024"/>
                    </a:cubicBezTo>
                    <a:cubicBezTo>
                      <a:pt x="496888" y="773481"/>
                      <a:pt x="493985" y="769937"/>
                      <a:pt x="489631" y="769937"/>
                    </a:cubicBezTo>
                    <a:cubicBezTo>
                      <a:pt x="489631" y="769937"/>
                      <a:pt x="489631" y="769937"/>
                      <a:pt x="453345" y="769937"/>
                    </a:cubicBezTo>
                    <a:close/>
                    <a:moveTo>
                      <a:pt x="362631" y="769937"/>
                    </a:moveTo>
                    <a:cubicBezTo>
                      <a:pt x="359115" y="769937"/>
                      <a:pt x="355600" y="773481"/>
                      <a:pt x="355600" y="777024"/>
                    </a:cubicBezTo>
                    <a:cubicBezTo>
                      <a:pt x="355600" y="777024"/>
                      <a:pt x="355600" y="777024"/>
                      <a:pt x="355600" y="842225"/>
                    </a:cubicBezTo>
                    <a:cubicBezTo>
                      <a:pt x="355600" y="846477"/>
                      <a:pt x="359115" y="849312"/>
                      <a:pt x="362631" y="849312"/>
                    </a:cubicBezTo>
                    <a:cubicBezTo>
                      <a:pt x="362631" y="849312"/>
                      <a:pt x="362631" y="849312"/>
                      <a:pt x="397783" y="849312"/>
                    </a:cubicBezTo>
                    <a:cubicBezTo>
                      <a:pt x="402001" y="849312"/>
                      <a:pt x="404813" y="846477"/>
                      <a:pt x="404813" y="842225"/>
                    </a:cubicBezTo>
                    <a:cubicBezTo>
                      <a:pt x="404813" y="842225"/>
                      <a:pt x="404813" y="842225"/>
                      <a:pt x="404813" y="777024"/>
                    </a:cubicBezTo>
                    <a:cubicBezTo>
                      <a:pt x="404813" y="773481"/>
                      <a:pt x="402001" y="769937"/>
                      <a:pt x="397783" y="769937"/>
                    </a:cubicBezTo>
                    <a:cubicBezTo>
                      <a:pt x="397783" y="769937"/>
                      <a:pt x="397783" y="769937"/>
                      <a:pt x="362631" y="769937"/>
                    </a:cubicBezTo>
                    <a:close/>
                    <a:moveTo>
                      <a:pt x="272246" y="769937"/>
                    </a:moveTo>
                    <a:cubicBezTo>
                      <a:pt x="268679" y="769937"/>
                      <a:pt x="265113" y="773481"/>
                      <a:pt x="265113" y="777024"/>
                    </a:cubicBezTo>
                    <a:cubicBezTo>
                      <a:pt x="265113" y="777024"/>
                      <a:pt x="265113" y="777024"/>
                      <a:pt x="265113" y="842225"/>
                    </a:cubicBezTo>
                    <a:cubicBezTo>
                      <a:pt x="265113" y="846477"/>
                      <a:pt x="268679" y="849312"/>
                      <a:pt x="272246" y="849312"/>
                    </a:cubicBezTo>
                    <a:cubicBezTo>
                      <a:pt x="272246" y="849312"/>
                      <a:pt x="272246" y="849312"/>
                      <a:pt x="307194" y="849312"/>
                    </a:cubicBezTo>
                    <a:cubicBezTo>
                      <a:pt x="311473" y="849312"/>
                      <a:pt x="314326" y="846477"/>
                      <a:pt x="314326" y="842225"/>
                    </a:cubicBezTo>
                    <a:cubicBezTo>
                      <a:pt x="314326" y="842225"/>
                      <a:pt x="314326" y="842225"/>
                      <a:pt x="314326" y="777024"/>
                    </a:cubicBezTo>
                    <a:cubicBezTo>
                      <a:pt x="314326" y="773481"/>
                      <a:pt x="311473" y="769937"/>
                      <a:pt x="307194" y="769937"/>
                    </a:cubicBezTo>
                    <a:cubicBezTo>
                      <a:pt x="307194" y="769937"/>
                      <a:pt x="307194" y="769937"/>
                      <a:pt x="272246" y="769937"/>
                    </a:cubicBezTo>
                    <a:close/>
                    <a:moveTo>
                      <a:pt x="181882" y="769937"/>
                    </a:moveTo>
                    <a:cubicBezTo>
                      <a:pt x="178254" y="769937"/>
                      <a:pt x="174625" y="773481"/>
                      <a:pt x="174625" y="777024"/>
                    </a:cubicBezTo>
                    <a:cubicBezTo>
                      <a:pt x="174625" y="777024"/>
                      <a:pt x="174625" y="777024"/>
                      <a:pt x="174625" y="842225"/>
                    </a:cubicBezTo>
                    <a:cubicBezTo>
                      <a:pt x="174625" y="846477"/>
                      <a:pt x="178254" y="849312"/>
                      <a:pt x="181882" y="849312"/>
                    </a:cubicBezTo>
                    <a:cubicBezTo>
                      <a:pt x="181882" y="849312"/>
                      <a:pt x="181882" y="849312"/>
                      <a:pt x="218168" y="849312"/>
                    </a:cubicBezTo>
                    <a:cubicBezTo>
                      <a:pt x="222522" y="849312"/>
                      <a:pt x="225425" y="846477"/>
                      <a:pt x="225425" y="842225"/>
                    </a:cubicBezTo>
                    <a:cubicBezTo>
                      <a:pt x="225425" y="842225"/>
                      <a:pt x="225425" y="842225"/>
                      <a:pt x="225425" y="777024"/>
                    </a:cubicBezTo>
                    <a:cubicBezTo>
                      <a:pt x="225425" y="773481"/>
                      <a:pt x="222522" y="769937"/>
                      <a:pt x="218168" y="769937"/>
                    </a:cubicBezTo>
                    <a:cubicBezTo>
                      <a:pt x="218168" y="769937"/>
                      <a:pt x="218168" y="769937"/>
                      <a:pt x="181882" y="769937"/>
                    </a:cubicBezTo>
                    <a:close/>
                    <a:moveTo>
                      <a:pt x="91395" y="769937"/>
                    </a:moveTo>
                    <a:cubicBezTo>
                      <a:pt x="87767" y="769937"/>
                      <a:pt x="84138" y="773481"/>
                      <a:pt x="84138" y="777024"/>
                    </a:cubicBezTo>
                    <a:cubicBezTo>
                      <a:pt x="84138" y="777024"/>
                      <a:pt x="84138" y="777024"/>
                      <a:pt x="84138" y="842225"/>
                    </a:cubicBezTo>
                    <a:cubicBezTo>
                      <a:pt x="84138" y="846477"/>
                      <a:pt x="87767" y="849312"/>
                      <a:pt x="91395" y="849312"/>
                    </a:cubicBezTo>
                    <a:cubicBezTo>
                      <a:pt x="91395" y="849312"/>
                      <a:pt x="91395" y="849312"/>
                      <a:pt x="127681" y="849312"/>
                    </a:cubicBezTo>
                    <a:cubicBezTo>
                      <a:pt x="132035" y="849312"/>
                      <a:pt x="134938" y="846477"/>
                      <a:pt x="134938" y="842225"/>
                    </a:cubicBezTo>
                    <a:cubicBezTo>
                      <a:pt x="134938" y="842225"/>
                      <a:pt x="134938" y="842225"/>
                      <a:pt x="134938" y="777024"/>
                    </a:cubicBezTo>
                    <a:cubicBezTo>
                      <a:pt x="134938" y="773481"/>
                      <a:pt x="132035" y="769937"/>
                      <a:pt x="127681" y="769937"/>
                    </a:cubicBezTo>
                    <a:cubicBezTo>
                      <a:pt x="127681" y="769937"/>
                      <a:pt x="127681" y="769937"/>
                      <a:pt x="91395" y="769937"/>
                    </a:cubicBezTo>
                    <a:close/>
                    <a:moveTo>
                      <a:pt x="958086" y="714375"/>
                    </a:moveTo>
                    <a:cubicBezTo>
                      <a:pt x="953782" y="714375"/>
                      <a:pt x="950913" y="717990"/>
                      <a:pt x="950913" y="721604"/>
                    </a:cubicBezTo>
                    <a:cubicBezTo>
                      <a:pt x="950913" y="721604"/>
                      <a:pt x="950913" y="721604"/>
                      <a:pt x="950913" y="788109"/>
                    </a:cubicBezTo>
                    <a:cubicBezTo>
                      <a:pt x="950913" y="792447"/>
                      <a:pt x="953782" y="795338"/>
                      <a:pt x="958086" y="795338"/>
                    </a:cubicBezTo>
                    <a:cubicBezTo>
                      <a:pt x="958086" y="795338"/>
                      <a:pt x="958086" y="795338"/>
                      <a:pt x="1062804" y="795338"/>
                    </a:cubicBezTo>
                    <a:cubicBezTo>
                      <a:pt x="1067107" y="795338"/>
                      <a:pt x="1069976" y="792447"/>
                      <a:pt x="1069976" y="788109"/>
                    </a:cubicBezTo>
                    <a:cubicBezTo>
                      <a:pt x="1069976" y="788109"/>
                      <a:pt x="1069976" y="788109"/>
                      <a:pt x="1069976" y="721604"/>
                    </a:cubicBezTo>
                    <a:cubicBezTo>
                      <a:pt x="1069976" y="717990"/>
                      <a:pt x="1067107" y="714375"/>
                      <a:pt x="1062804" y="714375"/>
                    </a:cubicBezTo>
                    <a:cubicBezTo>
                      <a:pt x="1062804" y="714375"/>
                      <a:pt x="1062804" y="714375"/>
                      <a:pt x="958086" y="714375"/>
                    </a:cubicBezTo>
                    <a:close/>
                    <a:moveTo>
                      <a:pt x="792890" y="714375"/>
                    </a:moveTo>
                    <a:cubicBezTo>
                      <a:pt x="788644" y="714375"/>
                      <a:pt x="785813" y="717990"/>
                      <a:pt x="785813" y="721604"/>
                    </a:cubicBezTo>
                    <a:cubicBezTo>
                      <a:pt x="785813" y="721604"/>
                      <a:pt x="785813" y="721604"/>
                      <a:pt x="785813" y="788109"/>
                    </a:cubicBezTo>
                    <a:cubicBezTo>
                      <a:pt x="785813" y="792447"/>
                      <a:pt x="788644" y="795338"/>
                      <a:pt x="792890" y="795338"/>
                    </a:cubicBezTo>
                    <a:cubicBezTo>
                      <a:pt x="792890" y="795338"/>
                      <a:pt x="792890" y="795338"/>
                      <a:pt x="896211" y="795338"/>
                    </a:cubicBezTo>
                    <a:cubicBezTo>
                      <a:pt x="899750" y="795338"/>
                      <a:pt x="903288" y="792447"/>
                      <a:pt x="903288" y="788109"/>
                    </a:cubicBezTo>
                    <a:cubicBezTo>
                      <a:pt x="903288" y="788109"/>
                      <a:pt x="903288" y="788109"/>
                      <a:pt x="903288" y="721604"/>
                    </a:cubicBezTo>
                    <a:cubicBezTo>
                      <a:pt x="903288" y="717990"/>
                      <a:pt x="899750" y="714375"/>
                      <a:pt x="896211" y="714375"/>
                    </a:cubicBezTo>
                    <a:cubicBezTo>
                      <a:pt x="896211" y="714375"/>
                      <a:pt x="896211" y="714375"/>
                      <a:pt x="792890" y="714375"/>
                    </a:cubicBezTo>
                    <a:close/>
                    <a:moveTo>
                      <a:pt x="453345" y="628650"/>
                    </a:moveTo>
                    <a:cubicBezTo>
                      <a:pt x="449717" y="628650"/>
                      <a:pt x="446088" y="631510"/>
                      <a:pt x="446088" y="635801"/>
                    </a:cubicBezTo>
                    <a:cubicBezTo>
                      <a:pt x="446088" y="635801"/>
                      <a:pt x="446088" y="635801"/>
                      <a:pt x="446088" y="700874"/>
                    </a:cubicBezTo>
                    <a:cubicBezTo>
                      <a:pt x="446088" y="704450"/>
                      <a:pt x="449717" y="708025"/>
                      <a:pt x="453345" y="708025"/>
                    </a:cubicBezTo>
                    <a:cubicBezTo>
                      <a:pt x="453345" y="708025"/>
                      <a:pt x="453345" y="708025"/>
                      <a:pt x="489631" y="708025"/>
                    </a:cubicBezTo>
                    <a:cubicBezTo>
                      <a:pt x="493985" y="708025"/>
                      <a:pt x="496888" y="704450"/>
                      <a:pt x="496888" y="700874"/>
                    </a:cubicBezTo>
                    <a:cubicBezTo>
                      <a:pt x="496888" y="700874"/>
                      <a:pt x="496888" y="700874"/>
                      <a:pt x="496888" y="635801"/>
                    </a:cubicBezTo>
                    <a:cubicBezTo>
                      <a:pt x="496888" y="631510"/>
                      <a:pt x="493985" y="628650"/>
                      <a:pt x="489631" y="628650"/>
                    </a:cubicBezTo>
                    <a:cubicBezTo>
                      <a:pt x="489631" y="628650"/>
                      <a:pt x="489631" y="628650"/>
                      <a:pt x="453345" y="628650"/>
                    </a:cubicBezTo>
                    <a:close/>
                    <a:moveTo>
                      <a:pt x="362631" y="628650"/>
                    </a:moveTo>
                    <a:cubicBezTo>
                      <a:pt x="359115" y="628650"/>
                      <a:pt x="355600" y="631510"/>
                      <a:pt x="355600" y="635801"/>
                    </a:cubicBezTo>
                    <a:cubicBezTo>
                      <a:pt x="355600" y="635801"/>
                      <a:pt x="355600" y="635801"/>
                      <a:pt x="355600" y="700874"/>
                    </a:cubicBezTo>
                    <a:cubicBezTo>
                      <a:pt x="355600" y="704450"/>
                      <a:pt x="359115" y="708025"/>
                      <a:pt x="362631" y="708025"/>
                    </a:cubicBezTo>
                    <a:cubicBezTo>
                      <a:pt x="362631" y="708025"/>
                      <a:pt x="362631" y="708025"/>
                      <a:pt x="397783" y="708025"/>
                    </a:cubicBezTo>
                    <a:cubicBezTo>
                      <a:pt x="402001" y="708025"/>
                      <a:pt x="404813" y="704450"/>
                      <a:pt x="404813" y="700874"/>
                    </a:cubicBezTo>
                    <a:cubicBezTo>
                      <a:pt x="404813" y="700874"/>
                      <a:pt x="404813" y="700874"/>
                      <a:pt x="404813" y="635801"/>
                    </a:cubicBezTo>
                    <a:cubicBezTo>
                      <a:pt x="404813" y="631510"/>
                      <a:pt x="402001" y="628650"/>
                      <a:pt x="397783" y="628650"/>
                    </a:cubicBezTo>
                    <a:cubicBezTo>
                      <a:pt x="397783" y="628650"/>
                      <a:pt x="397783" y="628650"/>
                      <a:pt x="362631" y="628650"/>
                    </a:cubicBezTo>
                    <a:close/>
                    <a:moveTo>
                      <a:pt x="272246" y="628650"/>
                    </a:moveTo>
                    <a:cubicBezTo>
                      <a:pt x="268679" y="628650"/>
                      <a:pt x="265113" y="631510"/>
                      <a:pt x="265113" y="635801"/>
                    </a:cubicBezTo>
                    <a:cubicBezTo>
                      <a:pt x="265113" y="635801"/>
                      <a:pt x="265113" y="635801"/>
                      <a:pt x="265113" y="700874"/>
                    </a:cubicBezTo>
                    <a:cubicBezTo>
                      <a:pt x="265113" y="704450"/>
                      <a:pt x="268679" y="708025"/>
                      <a:pt x="272246" y="708025"/>
                    </a:cubicBezTo>
                    <a:cubicBezTo>
                      <a:pt x="272246" y="708025"/>
                      <a:pt x="272246" y="708025"/>
                      <a:pt x="307194" y="708025"/>
                    </a:cubicBezTo>
                    <a:cubicBezTo>
                      <a:pt x="311473" y="708025"/>
                      <a:pt x="314326" y="704450"/>
                      <a:pt x="314326" y="700874"/>
                    </a:cubicBezTo>
                    <a:cubicBezTo>
                      <a:pt x="314326" y="700874"/>
                      <a:pt x="314326" y="700874"/>
                      <a:pt x="314326" y="635801"/>
                    </a:cubicBezTo>
                    <a:cubicBezTo>
                      <a:pt x="314326" y="631510"/>
                      <a:pt x="311473" y="628650"/>
                      <a:pt x="307194" y="628650"/>
                    </a:cubicBezTo>
                    <a:cubicBezTo>
                      <a:pt x="307194" y="628650"/>
                      <a:pt x="307194" y="628650"/>
                      <a:pt x="272246" y="628650"/>
                    </a:cubicBezTo>
                    <a:close/>
                    <a:moveTo>
                      <a:pt x="181882" y="628650"/>
                    </a:moveTo>
                    <a:cubicBezTo>
                      <a:pt x="178254" y="628650"/>
                      <a:pt x="174625" y="631510"/>
                      <a:pt x="174625" y="635801"/>
                    </a:cubicBezTo>
                    <a:cubicBezTo>
                      <a:pt x="174625" y="635801"/>
                      <a:pt x="174625" y="635801"/>
                      <a:pt x="174625" y="700874"/>
                    </a:cubicBezTo>
                    <a:cubicBezTo>
                      <a:pt x="174625" y="704450"/>
                      <a:pt x="178254" y="708025"/>
                      <a:pt x="181882" y="708025"/>
                    </a:cubicBezTo>
                    <a:cubicBezTo>
                      <a:pt x="181882" y="708025"/>
                      <a:pt x="181882" y="708025"/>
                      <a:pt x="218168" y="708025"/>
                    </a:cubicBezTo>
                    <a:cubicBezTo>
                      <a:pt x="222522" y="708025"/>
                      <a:pt x="225425" y="704450"/>
                      <a:pt x="225425" y="700874"/>
                    </a:cubicBezTo>
                    <a:cubicBezTo>
                      <a:pt x="225425" y="700874"/>
                      <a:pt x="225425" y="700874"/>
                      <a:pt x="225425" y="635801"/>
                    </a:cubicBezTo>
                    <a:cubicBezTo>
                      <a:pt x="225425" y="631510"/>
                      <a:pt x="222522" y="628650"/>
                      <a:pt x="218168" y="628650"/>
                    </a:cubicBezTo>
                    <a:cubicBezTo>
                      <a:pt x="218168" y="628650"/>
                      <a:pt x="218168" y="628650"/>
                      <a:pt x="181882" y="628650"/>
                    </a:cubicBezTo>
                    <a:close/>
                    <a:moveTo>
                      <a:pt x="958086" y="596900"/>
                    </a:moveTo>
                    <a:cubicBezTo>
                      <a:pt x="953782" y="596900"/>
                      <a:pt x="950913" y="600444"/>
                      <a:pt x="950913" y="603987"/>
                    </a:cubicBezTo>
                    <a:cubicBezTo>
                      <a:pt x="950913" y="603987"/>
                      <a:pt x="950913" y="603987"/>
                      <a:pt x="950913" y="669188"/>
                    </a:cubicBezTo>
                    <a:cubicBezTo>
                      <a:pt x="950913" y="673440"/>
                      <a:pt x="953782" y="676275"/>
                      <a:pt x="958086" y="676275"/>
                    </a:cubicBezTo>
                    <a:cubicBezTo>
                      <a:pt x="958086" y="676275"/>
                      <a:pt x="958086" y="676275"/>
                      <a:pt x="1062804" y="676275"/>
                    </a:cubicBezTo>
                    <a:cubicBezTo>
                      <a:pt x="1067107" y="676275"/>
                      <a:pt x="1069976" y="673440"/>
                      <a:pt x="1069976" y="669188"/>
                    </a:cubicBezTo>
                    <a:cubicBezTo>
                      <a:pt x="1069976" y="669188"/>
                      <a:pt x="1069976" y="669188"/>
                      <a:pt x="1069976" y="603987"/>
                    </a:cubicBezTo>
                    <a:cubicBezTo>
                      <a:pt x="1069976" y="600444"/>
                      <a:pt x="1067107" y="596900"/>
                      <a:pt x="1062804" y="596900"/>
                    </a:cubicBezTo>
                    <a:cubicBezTo>
                      <a:pt x="1062804" y="596900"/>
                      <a:pt x="1062804" y="596900"/>
                      <a:pt x="958086" y="596900"/>
                    </a:cubicBezTo>
                    <a:close/>
                    <a:moveTo>
                      <a:pt x="792890" y="596900"/>
                    </a:moveTo>
                    <a:cubicBezTo>
                      <a:pt x="788644" y="596900"/>
                      <a:pt x="785813" y="600444"/>
                      <a:pt x="785813" y="603987"/>
                    </a:cubicBezTo>
                    <a:cubicBezTo>
                      <a:pt x="785813" y="603987"/>
                      <a:pt x="785813" y="603987"/>
                      <a:pt x="785813" y="669188"/>
                    </a:cubicBezTo>
                    <a:cubicBezTo>
                      <a:pt x="785813" y="673440"/>
                      <a:pt x="788644" y="676275"/>
                      <a:pt x="792890" y="676275"/>
                    </a:cubicBezTo>
                    <a:cubicBezTo>
                      <a:pt x="792890" y="676275"/>
                      <a:pt x="792890" y="676275"/>
                      <a:pt x="896211" y="676275"/>
                    </a:cubicBezTo>
                    <a:cubicBezTo>
                      <a:pt x="899750" y="676275"/>
                      <a:pt x="903288" y="673440"/>
                      <a:pt x="903288" y="669188"/>
                    </a:cubicBezTo>
                    <a:cubicBezTo>
                      <a:pt x="903288" y="669188"/>
                      <a:pt x="903288" y="669188"/>
                      <a:pt x="903288" y="603987"/>
                    </a:cubicBezTo>
                    <a:cubicBezTo>
                      <a:pt x="903288" y="600444"/>
                      <a:pt x="899750" y="596900"/>
                      <a:pt x="896211" y="596900"/>
                    </a:cubicBezTo>
                    <a:cubicBezTo>
                      <a:pt x="896211" y="596900"/>
                      <a:pt x="896211" y="596900"/>
                      <a:pt x="792890" y="596900"/>
                    </a:cubicBezTo>
                    <a:close/>
                    <a:moveTo>
                      <a:pt x="453345" y="487362"/>
                    </a:moveTo>
                    <a:cubicBezTo>
                      <a:pt x="449717" y="487362"/>
                      <a:pt x="446088" y="490938"/>
                      <a:pt x="446088" y="494513"/>
                    </a:cubicBezTo>
                    <a:cubicBezTo>
                      <a:pt x="446088" y="494513"/>
                      <a:pt x="446088" y="494513"/>
                      <a:pt x="446088" y="559586"/>
                    </a:cubicBezTo>
                    <a:cubicBezTo>
                      <a:pt x="446088" y="563877"/>
                      <a:pt x="449717" y="566737"/>
                      <a:pt x="453345" y="566737"/>
                    </a:cubicBezTo>
                    <a:cubicBezTo>
                      <a:pt x="453345" y="566737"/>
                      <a:pt x="453345" y="566737"/>
                      <a:pt x="489631" y="566737"/>
                    </a:cubicBezTo>
                    <a:cubicBezTo>
                      <a:pt x="493985" y="566737"/>
                      <a:pt x="496888" y="563877"/>
                      <a:pt x="496888" y="559586"/>
                    </a:cubicBezTo>
                    <a:cubicBezTo>
                      <a:pt x="496888" y="559586"/>
                      <a:pt x="496888" y="559586"/>
                      <a:pt x="496888" y="494513"/>
                    </a:cubicBezTo>
                    <a:cubicBezTo>
                      <a:pt x="496888" y="490938"/>
                      <a:pt x="493985" y="487362"/>
                      <a:pt x="489631" y="487362"/>
                    </a:cubicBezTo>
                    <a:cubicBezTo>
                      <a:pt x="489631" y="487362"/>
                      <a:pt x="489631" y="487362"/>
                      <a:pt x="453345" y="487362"/>
                    </a:cubicBezTo>
                    <a:close/>
                    <a:moveTo>
                      <a:pt x="362631" y="487362"/>
                    </a:moveTo>
                    <a:cubicBezTo>
                      <a:pt x="359115" y="487362"/>
                      <a:pt x="355600" y="490938"/>
                      <a:pt x="355600" y="494513"/>
                    </a:cubicBezTo>
                    <a:cubicBezTo>
                      <a:pt x="355600" y="494513"/>
                      <a:pt x="355600" y="494513"/>
                      <a:pt x="355600" y="559586"/>
                    </a:cubicBezTo>
                    <a:cubicBezTo>
                      <a:pt x="355600" y="563877"/>
                      <a:pt x="359115" y="566737"/>
                      <a:pt x="362631" y="566737"/>
                    </a:cubicBezTo>
                    <a:cubicBezTo>
                      <a:pt x="362631" y="566737"/>
                      <a:pt x="362631" y="566737"/>
                      <a:pt x="397783" y="566737"/>
                    </a:cubicBezTo>
                    <a:cubicBezTo>
                      <a:pt x="402001" y="566737"/>
                      <a:pt x="404813" y="563877"/>
                      <a:pt x="404813" y="559586"/>
                    </a:cubicBezTo>
                    <a:cubicBezTo>
                      <a:pt x="404813" y="559586"/>
                      <a:pt x="404813" y="559586"/>
                      <a:pt x="404813" y="494513"/>
                    </a:cubicBezTo>
                    <a:cubicBezTo>
                      <a:pt x="404813" y="490938"/>
                      <a:pt x="402001" y="487362"/>
                      <a:pt x="397783" y="487362"/>
                    </a:cubicBezTo>
                    <a:cubicBezTo>
                      <a:pt x="397783" y="487362"/>
                      <a:pt x="397783" y="487362"/>
                      <a:pt x="362631" y="487362"/>
                    </a:cubicBezTo>
                    <a:close/>
                    <a:moveTo>
                      <a:pt x="272246" y="487362"/>
                    </a:moveTo>
                    <a:cubicBezTo>
                      <a:pt x="268679" y="487362"/>
                      <a:pt x="265113" y="490938"/>
                      <a:pt x="265113" y="494513"/>
                    </a:cubicBezTo>
                    <a:cubicBezTo>
                      <a:pt x="265113" y="494513"/>
                      <a:pt x="265113" y="494513"/>
                      <a:pt x="265113" y="559586"/>
                    </a:cubicBezTo>
                    <a:cubicBezTo>
                      <a:pt x="265113" y="563877"/>
                      <a:pt x="268679" y="566737"/>
                      <a:pt x="272246" y="566737"/>
                    </a:cubicBezTo>
                    <a:cubicBezTo>
                      <a:pt x="272246" y="566737"/>
                      <a:pt x="272246" y="566737"/>
                      <a:pt x="307194" y="566737"/>
                    </a:cubicBezTo>
                    <a:cubicBezTo>
                      <a:pt x="311473" y="566737"/>
                      <a:pt x="314326" y="563877"/>
                      <a:pt x="314326" y="559586"/>
                    </a:cubicBezTo>
                    <a:cubicBezTo>
                      <a:pt x="314326" y="559586"/>
                      <a:pt x="314326" y="559586"/>
                      <a:pt x="314326" y="494513"/>
                    </a:cubicBezTo>
                    <a:cubicBezTo>
                      <a:pt x="314326" y="490938"/>
                      <a:pt x="311473" y="487362"/>
                      <a:pt x="307194" y="487362"/>
                    </a:cubicBezTo>
                    <a:cubicBezTo>
                      <a:pt x="307194" y="487362"/>
                      <a:pt x="307194" y="487362"/>
                      <a:pt x="272246" y="487362"/>
                    </a:cubicBezTo>
                    <a:close/>
                    <a:moveTo>
                      <a:pt x="958086" y="477837"/>
                    </a:moveTo>
                    <a:cubicBezTo>
                      <a:pt x="953782" y="477837"/>
                      <a:pt x="950913" y="481381"/>
                      <a:pt x="950913" y="484924"/>
                    </a:cubicBezTo>
                    <a:cubicBezTo>
                      <a:pt x="950913" y="484924"/>
                      <a:pt x="950913" y="484924"/>
                      <a:pt x="950913" y="550125"/>
                    </a:cubicBezTo>
                    <a:cubicBezTo>
                      <a:pt x="950913" y="554377"/>
                      <a:pt x="953782" y="557212"/>
                      <a:pt x="958086" y="557212"/>
                    </a:cubicBezTo>
                    <a:cubicBezTo>
                      <a:pt x="958086" y="557212"/>
                      <a:pt x="958086" y="557212"/>
                      <a:pt x="1062804" y="557212"/>
                    </a:cubicBezTo>
                    <a:cubicBezTo>
                      <a:pt x="1067107" y="557212"/>
                      <a:pt x="1069976" y="554377"/>
                      <a:pt x="1069976" y="550125"/>
                    </a:cubicBezTo>
                    <a:cubicBezTo>
                      <a:pt x="1069976" y="550125"/>
                      <a:pt x="1069976" y="550125"/>
                      <a:pt x="1069976" y="484924"/>
                    </a:cubicBezTo>
                    <a:cubicBezTo>
                      <a:pt x="1069976" y="481381"/>
                      <a:pt x="1067107" y="477837"/>
                      <a:pt x="1062804" y="477837"/>
                    </a:cubicBezTo>
                    <a:cubicBezTo>
                      <a:pt x="1062804" y="477837"/>
                      <a:pt x="1062804" y="477837"/>
                      <a:pt x="958086" y="477837"/>
                    </a:cubicBezTo>
                    <a:close/>
                    <a:moveTo>
                      <a:pt x="792890" y="477837"/>
                    </a:moveTo>
                    <a:cubicBezTo>
                      <a:pt x="788644" y="477837"/>
                      <a:pt x="785813" y="481381"/>
                      <a:pt x="785813" y="484924"/>
                    </a:cubicBezTo>
                    <a:cubicBezTo>
                      <a:pt x="785813" y="484924"/>
                      <a:pt x="785813" y="484924"/>
                      <a:pt x="785813" y="550125"/>
                    </a:cubicBezTo>
                    <a:cubicBezTo>
                      <a:pt x="785813" y="554377"/>
                      <a:pt x="788644" y="557212"/>
                      <a:pt x="792890" y="557212"/>
                    </a:cubicBezTo>
                    <a:cubicBezTo>
                      <a:pt x="792890" y="557212"/>
                      <a:pt x="792890" y="557212"/>
                      <a:pt x="896211" y="557212"/>
                    </a:cubicBezTo>
                    <a:cubicBezTo>
                      <a:pt x="899750" y="557212"/>
                      <a:pt x="903288" y="554377"/>
                      <a:pt x="903288" y="550125"/>
                    </a:cubicBezTo>
                    <a:cubicBezTo>
                      <a:pt x="903288" y="550125"/>
                      <a:pt x="903288" y="550125"/>
                      <a:pt x="903288" y="484924"/>
                    </a:cubicBezTo>
                    <a:cubicBezTo>
                      <a:pt x="903288" y="481381"/>
                      <a:pt x="899750" y="477837"/>
                      <a:pt x="896211" y="477837"/>
                    </a:cubicBezTo>
                    <a:cubicBezTo>
                      <a:pt x="896211" y="477837"/>
                      <a:pt x="896211" y="477837"/>
                      <a:pt x="792890" y="477837"/>
                    </a:cubicBezTo>
                    <a:close/>
                    <a:moveTo>
                      <a:pt x="958086" y="358775"/>
                    </a:moveTo>
                    <a:cubicBezTo>
                      <a:pt x="953782" y="358775"/>
                      <a:pt x="950913" y="362390"/>
                      <a:pt x="950913" y="366004"/>
                    </a:cubicBezTo>
                    <a:cubicBezTo>
                      <a:pt x="950913" y="366004"/>
                      <a:pt x="950913" y="366004"/>
                      <a:pt x="950913" y="432509"/>
                    </a:cubicBezTo>
                    <a:cubicBezTo>
                      <a:pt x="950913" y="436847"/>
                      <a:pt x="953782" y="439738"/>
                      <a:pt x="958086" y="439738"/>
                    </a:cubicBezTo>
                    <a:cubicBezTo>
                      <a:pt x="958086" y="439738"/>
                      <a:pt x="958086" y="439738"/>
                      <a:pt x="1062804" y="439738"/>
                    </a:cubicBezTo>
                    <a:cubicBezTo>
                      <a:pt x="1067107" y="439738"/>
                      <a:pt x="1069976" y="436847"/>
                      <a:pt x="1069976" y="432509"/>
                    </a:cubicBezTo>
                    <a:cubicBezTo>
                      <a:pt x="1069976" y="432509"/>
                      <a:pt x="1069976" y="432509"/>
                      <a:pt x="1069976" y="366004"/>
                    </a:cubicBezTo>
                    <a:cubicBezTo>
                      <a:pt x="1069976" y="362390"/>
                      <a:pt x="1067107" y="358775"/>
                      <a:pt x="1062804" y="358775"/>
                    </a:cubicBezTo>
                    <a:cubicBezTo>
                      <a:pt x="1062804" y="358775"/>
                      <a:pt x="1062804" y="358775"/>
                      <a:pt x="958086" y="358775"/>
                    </a:cubicBezTo>
                    <a:close/>
                    <a:moveTo>
                      <a:pt x="792890" y="358775"/>
                    </a:moveTo>
                    <a:cubicBezTo>
                      <a:pt x="788644" y="358775"/>
                      <a:pt x="785813" y="362390"/>
                      <a:pt x="785813" y="366004"/>
                    </a:cubicBezTo>
                    <a:cubicBezTo>
                      <a:pt x="785813" y="366004"/>
                      <a:pt x="785813" y="366004"/>
                      <a:pt x="785813" y="432509"/>
                    </a:cubicBezTo>
                    <a:cubicBezTo>
                      <a:pt x="785813" y="436847"/>
                      <a:pt x="788644" y="439738"/>
                      <a:pt x="792890" y="439738"/>
                    </a:cubicBezTo>
                    <a:cubicBezTo>
                      <a:pt x="792890" y="439738"/>
                      <a:pt x="792890" y="439738"/>
                      <a:pt x="896211" y="439738"/>
                    </a:cubicBezTo>
                    <a:cubicBezTo>
                      <a:pt x="899750" y="439738"/>
                      <a:pt x="903288" y="436847"/>
                      <a:pt x="903288" y="432509"/>
                    </a:cubicBezTo>
                    <a:cubicBezTo>
                      <a:pt x="903288" y="432509"/>
                      <a:pt x="903288" y="432509"/>
                      <a:pt x="903288" y="366004"/>
                    </a:cubicBezTo>
                    <a:cubicBezTo>
                      <a:pt x="903288" y="362390"/>
                      <a:pt x="899750" y="358775"/>
                      <a:pt x="896211" y="358775"/>
                    </a:cubicBezTo>
                    <a:cubicBezTo>
                      <a:pt x="896211" y="358775"/>
                      <a:pt x="896211" y="358775"/>
                      <a:pt x="792890" y="358775"/>
                    </a:cubicBezTo>
                    <a:close/>
                    <a:moveTo>
                      <a:pt x="453345" y="346075"/>
                    </a:moveTo>
                    <a:cubicBezTo>
                      <a:pt x="449717" y="346075"/>
                      <a:pt x="446088" y="348967"/>
                      <a:pt x="446088" y="353304"/>
                    </a:cubicBezTo>
                    <a:cubicBezTo>
                      <a:pt x="446088" y="353304"/>
                      <a:pt x="446088" y="353304"/>
                      <a:pt x="446088" y="419809"/>
                    </a:cubicBezTo>
                    <a:cubicBezTo>
                      <a:pt x="446088" y="423424"/>
                      <a:pt x="449717" y="427038"/>
                      <a:pt x="453345" y="427038"/>
                    </a:cubicBezTo>
                    <a:cubicBezTo>
                      <a:pt x="453345" y="427038"/>
                      <a:pt x="453345" y="427038"/>
                      <a:pt x="489631" y="427038"/>
                    </a:cubicBezTo>
                    <a:cubicBezTo>
                      <a:pt x="493985" y="427038"/>
                      <a:pt x="496888" y="423424"/>
                      <a:pt x="496888" y="419809"/>
                    </a:cubicBezTo>
                    <a:cubicBezTo>
                      <a:pt x="496888" y="419809"/>
                      <a:pt x="496888" y="419809"/>
                      <a:pt x="496888" y="353304"/>
                    </a:cubicBezTo>
                    <a:cubicBezTo>
                      <a:pt x="496888" y="348967"/>
                      <a:pt x="493985" y="346075"/>
                      <a:pt x="489631" y="346075"/>
                    </a:cubicBezTo>
                    <a:cubicBezTo>
                      <a:pt x="489631" y="346075"/>
                      <a:pt x="489631" y="346075"/>
                      <a:pt x="453345" y="346075"/>
                    </a:cubicBezTo>
                    <a:close/>
                    <a:moveTo>
                      <a:pt x="362631" y="346075"/>
                    </a:moveTo>
                    <a:cubicBezTo>
                      <a:pt x="359115" y="346075"/>
                      <a:pt x="355600" y="348967"/>
                      <a:pt x="355600" y="353304"/>
                    </a:cubicBezTo>
                    <a:cubicBezTo>
                      <a:pt x="355600" y="353304"/>
                      <a:pt x="355600" y="353304"/>
                      <a:pt x="355600" y="419809"/>
                    </a:cubicBezTo>
                    <a:cubicBezTo>
                      <a:pt x="355600" y="423424"/>
                      <a:pt x="359115" y="427038"/>
                      <a:pt x="362631" y="427038"/>
                    </a:cubicBezTo>
                    <a:cubicBezTo>
                      <a:pt x="362631" y="427038"/>
                      <a:pt x="362631" y="427038"/>
                      <a:pt x="397783" y="427038"/>
                    </a:cubicBezTo>
                    <a:cubicBezTo>
                      <a:pt x="402001" y="427038"/>
                      <a:pt x="404813" y="423424"/>
                      <a:pt x="404813" y="419809"/>
                    </a:cubicBezTo>
                    <a:cubicBezTo>
                      <a:pt x="404813" y="419809"/>
                      <a:pt x="404813" y="419809"/>
                      <a:pt x="404813" y="353304"/>
                    </a:cubicBezTo>
                    <a:cubicBezTo>
                      <a:pt x="404813" y="348967"/>
                      <a:pt x="402001" y="346075"/>
                      <a:pt x="397783" y="346075"/>
                    </a:cubicBezTo>
                    <a:cubicBezTo>
                      <a:pt x="397783" y="346075"/>
                      <a:pt x="397783" y="346075"/>
                      <a:pt x="362631" y="346075"/>
                    </a:cubicBezTo>
                    <a:close/>
                    <a:moveTo>
                      <a:pt x="285558" y="266700"/>
                    </a:moveTo>
                    <a:cubicBezTo>
                      <a:pt x="285558" y="266700"/>
                      <a:pt x="285558" y="266700"/>
                      <a:pt x="573258" y="266700"/>
                    </a:cubicBezTo>
                    <a:cubicBezTo>
                      <a:pt x="581824" y="266700"/>
                      <a:pt x="588963" y="273836"/>
                      <a:pt x="588963" y="282398"/>
                    </a:cubicBezTo>
                    <a:cubicBezTo>
                      <a:pt x="588963" y="282398"/>
                      <a:pt x="588963" y="282398"/>
                      <a:pt x="588963" y="858229"/>
                    </a:cubicBezTo>
                    <a:cubicBezTo>
                      <a:pt x="581110" y="858943"/>
                      <a:pt x="573971" y="860370"/>
                      <a:pt x="566832" y="861084"/>
                    </a:cubicBezTo>
                    <a:cubicBezTo>
                      <a:pt x="541846" y="863938"/>
                      <a:pt x="516146" y="868933"/>
                      <a:pt x="491160" y="874641"/>
                    </a:cubicBezTo>
                    <a:cubicBezTo>
                      <a:pt x="425481" y="891053"/>
                      <a:pt x="363373" y="916027"/>
                      <a:pt x="305547" y="950277"/>
                    </a:cubicBezTo>
                    <a:cubicBezTo>
                      <a:pt x="299122" y="953845"/>
                      <a:pt x="291983" y="958126"/>
                      <a:pt x="285558" y="962407"/>
                    </a:cubicBezTo>
                    <a:cubicBezTo>
                      <a:pt x="284844" y="961694"/>
                      <a:pt x="284130" y="960267"/>
                      <a:pt x="284130" y="958839"/>
                    </a:cubicBezTo>
                    <a:cubicBezTo>
                      <a:pt x="276991" y="941714"/>
                      <a:pt x="259858" y="930298"/>
                      <a:pt x="240583" y="930298"/>
                    </a:cubicBezTo>
                    <a:cubicBezTo>
                      <a:pt x="240583" y="930298"/>
                      <a:pt x="240583" y="930298"/>
                      <a:pt x="185613" y="930298"/>
                    </a:cubicBezTo>
                    <a:cubicBezTo>
                      <a:pt x="161340" y="930298"/>
                      <a:pt x="140637" y="948850"/>
                      <a:pt x="138496" y="973110"/>
                    </a:cubicBezTo>
                    <a:cubicBezTo>
                      <a:pt x="138496" y="973110"/>
                      <a:pt x="138496" y="973110"/>
                      <a:pt x="107084" y="1290638"/>
                    </a:cubicBezTo>
                    <a:cubicBezTo>
                      <a:pt x="107084" y="1290638"/>
                      <a:pt x="107084" y="1290638"/>
                      <a:pt x="31412" y="1290638"/>
                    </a:cubicBezTo>
                    <a:cubicBezTo>
                      <a:pt x="31412" y="1290638"/>
                      <a:pt x="31412" y="1290638"/>
                      <a:pt x="15706" y="1290638"/>
                    </a:cubicBezTo>
                    <a:cubicBezTo>
                      <a:pt x="15706" y="1290638"/>
                      <a:pt x="15706" y="1290638"/>
                      <a:pt x="0" y="1290638"/>
                    </a:cubicBezTo>
                    <a:cubicBezTo>
                      <a:pt x="0" y="1290638"/>
                      <a:pt x="0" y="1290638"/>
                      <a:pt x="0" y="788302"/>
                    </a:cubicBezTo>
                    <a:cubicBezTo>
                      <a:pt x="0" y="785448"/>
                      <a:pt x="714" y="782594"/>
                      <a:pt x="2142" y="780453"/>
                    </a:cubicBezTo>
                    <a:cubicBezTo>
                      <a:pt x="2142" y="780453"/>
                      <a:pt x="2142" y="780453"/>
                      <a:pt x="269852" y="343763"/>
                    </a:cubicBezTo>
                    <a:cubicBezTo>
                      <a:pt x="269852" y="343763"/>
                      <a:pt x="269852" y="343763"/>
                      <a:pt x="269852" y="282398"/>
                    </a:cubicBezTo>
                    <a:cubicBezTo>
                      <a:pt x="269852" y="273836"/>
                      <a:pt x="276991" y="266700"/>
                      <a:pt x="285558" y="266700"/>
                    </a:cubicBezTo>
                    <a:close/>
                    <a:moveTo>
                      <a:pt x="958086" y="241300"/>
                    </a:moveTo>
                    <a:cubicBezTo>
                      <a:pt x="953782" y="241300"/>
                      <a:pt x="950913" y="244844"/>
                      <a:pt x="950913" y="248387"/>
                    </a:cubicBezTo>
                    <a:cubicBezTo>
                      <a:pt x="950913" y="248387"/>
                      <a:pt x="950913" y="248387"/>
                      <a:pt x="950913" y="313588"/>
                    </a:cubicBezTo>
                    <a:cubicBezTo>
                      <a:pt x="950913" y="317840"/>
                      <a:pt x="953782" y="320675"/>
                      <a:pt x="958086" y="320675"/>
                    </a:cubicBezTo>
                    <a:cubicBezTo>
                      <a:pt x="958086" y="320675"/>
                      <a:pt x="958086" y="320675"/>
                      <a:pt x="1062804" y="320675"/>
                    </a:cubicBezTo>
                    <a:cubicBezTo>
                      <a:pt x="1067107" y="320675"/>
                      <a:pt x="1069976" y="317840"/>
                      <a:pt x="1069976" y="313588"/>
                    </a:cubicBezTo>
                    <a:cubicBezTo>
                      <a:pt x="1069976" y="313588"/>
                      <a:pt x="1069976" y="313588"/>
                      <a:pt x="1069976" y="248387"/>
                    </a:cubicBezTo>
                    <a:cubicBezTo>
                      <a:pt x="1069976" y="244844"/>
                      <a:pt x="1067107" y="241300"/>
                      <a:pt x="1062804" y="241300"/>
                    </a:cubicBezTo>
                    <a:cubicBezTo>
                      <a:pt x="1062804" y="241300"/>
                      <a:pt x="1062804" y="241300"/>
                      <a:pt x="958086" y="241300"/>
                    </a:cubicBezTo>
                    <a:close/>
                    <a:moveTo>
                      <a:pt x="792890" y="241300"/>
                    </a:moveTo>
                    <a:cubicBezTo>
                      <a:pt x="788644" y="241300"/>
                      <a:pt x="785813" y="244844"/>
                      <a:pt x="785813" y="248387"/>
                    </a:cubicBezTo>
                    <a:cubicBezTo>
                      <a:pt x="785813" y="248387"/>
                      <a:pt x="785813" y="248387"/>
                      <a:pt x="785813" y="313588"/>
                    </a:cubicBezTo>
                    <a:cubicBezTo>
                      <a:pt x="785813" y="317840"/>
                      <a:pt x="788644" y="320675"/>
                      <a:pt x="792890" y="320675"/>
                    </a:cubicBezTo>
                    <a:cubicBezTo>
                      <a:pt x="792890" y="320675"/>
                      <a:pt x="792890" y="320675"/>
                      <a:pt x="896211" y="320675"/>
                    </a:cubicBezTo>
                    <a:cubicBezTo>
                      <a:pt x="899750" y="320675"/>
                      <a:pt x="903288" y="317840"/>
                      <a:pt x="903288" y="313588"/>
                    </a:cubicBezTo>
                    <a:cubicBezTo>
                      <a:pt x="903288" y="313588"/>
                      <a:pt x="903288" y="313588"/>
                      <a:pt x="903288" y="248387"/>
                    </a:cubicBezTo>
                    <a:cubicBezTo>
                      <a:pt x="903288" y="244844"/>
                      <a:pt x="899750" y="241300"/>
                      <a:pt x="896211" y="241300"/>
                    </a:cubicBezTo>
                    <a:cubicBezTo>
                      <a:pt x="896211" y="241300"/>
                      <a:pt x="896211" y="241300"/>
                      <a:pt x="792890" y="241300"/>
                    </a:cubicBezTo>
                    <a:close/>
                    <a:moveTo>
                      <a:pt x="927458" y="0"/>
                    </a:moveTo>
                    <a:cubicBezTo>
                      <a:pt x="936038" y="0"/>
                      <a:pt x="943189" y="7133"/>
                      <a:pt x="943189" y="15692"/>
                    </a:cubicBezTo>
                    <a:cubicBezTo>
                      <a:pt x="943189" y="15692"/>
                      <a:pt x="943189" y="15692"/>
                      <a:pt x="943189" y="108416"/>
                    </a:cubicBezTo>
                    <a:cubicBezTo>
                      <a:pt x="943189" y="108416"/>
                      <a:pt x="943189" y="108416"/>
                      <a:pt x="1081192" y="108416"/>
                    </a:cubicBezTo>
                    <a:cubicBezTo>
                      <a:pt x="1089772" y="108416"/>
                      <a:pt x="1096923" y="115548"/>
                      <a:pt x="1096923" y="124107"/>
                    </a:cubicBezTo>
                    <a:cubicBezTo>
                      <a:pt x="1096923" y="124107"/>
                      <a:pt x="1096923" y="124107"/>
                      <a:pt x="1096923" y="169043"/>
                    </a:cubicBezTo>
                    <a:cubicBezTo>
                      <a:pt x="1096923" y="169043"/>
                      <a:pt x="1096923" y="169043"/>
                      <a:pt x="1124809" y="169043"/>
                    </a:cubicBezTo>
                    <a:cubicBezTo>
                      <a:pt x="1132675" y="169043"/>
                      <a:pt x="1139825" y="176175"/>
                      <a:pt x="1139825" y="184734"/>
                    </a:cubicBezTo>
                    <a:cubicBezTo>
                      <a:pt x="1139825" y="184734"/>
                      <a:pt x="1139825" y="184734"/>
                      <a:pt x="1139825" y="933656"/>
                    </a:cubicBezTo>
                    <a:cubicBezTo>
                      <a:pt x="1135535" y="932230"/>
                      <a:pt x="1131960" y="931516"/>
                      <a:pt x="1126954" y="931516"/>
                    </a:cubicBezTo>
                    <a:cubicBezTo>
                      <a:pt x="1126954" y="931516"/>
                      <a:pt x="1126954" y="931516"/>
                      <a:pt x="1124809" y="931516"/>
                    </a:cubicBezTo>
                    <a:cubicBezTo>
                      <a:pt x="1124809" y="931516"/>
                      <a:pt x="1124809" y="931516"/>
                      <a:pt x="1109078" y="931516"/>
                    </a:cubicBezTo>
                    <a:cubicBezTo>
                      <a:pt x="1109078" y="931516"/>
                      <a:pt x="1109078" y="931516"/>
                      <a:pt x="1071896" y="931516"/>
                    </a:cubicBezTo>
                    <a:cubicBezTo>
                      <a:pt x="1051160" y="931516"/>
                      <a:pt x="1033284" y="945068"/>
                      <a:pt x="1026849" y="963613"/>
                    </a:cubicBezTo>
                    <a:cubicBezTo>
                      <a:pt x="988236" y="938649"/>
                      <a:pt x="946764" y="917965"/>
                      <a:pt x="903861" y="901560"/>
                    </a:cubicBezTo>
                    <a:cubicBezTo>
                      <a:pt x="903861" y="901560"/>
                      <a:pt x="903861" y="901560"/>
                      <a:pt x="903861" y="840219"/>
                    </a:cubicBezTo>
                    <a:cubicBezTo>
                      <a:pt x="903861" y="836653"/>
                      <a:pt x="900286" y="833087"/>
                      <a:pt x="896711" y="833087"/>
                    </a:cubicBezTo>
                    <a:cubicBezTo>
                      <a:pt x="896711" y="833087"/>
                      <a:pt x="896711" y="833087"/>
                      <a:pt x="792315" y="833087"/>
                    </a:cubicBezTo>
                    <a:cubicBezTo>
                      <a:pt x="788025" y="833087"/>
                      <a:pt x="785164" y="836653"/>
                      <a:pt x="785164" y="840219"/>
                    </a:cubicBezTo>
                    <a:cubicBezTo>
                      <a:pt x="785164" y="840219"/>
                      <a:pt x="785164" y="840219"/>
                      <a:pt x="785164" y="868036"/>
                    </a:cubicBezTo>
                    <a:cubicBezTo>
                      <a:pt x="772294" y="865183"/>
                      <a:pt x="758708" y="863044"/>
                      <a:pt x="745837" y="861617"/>
                    </a:cubicBezTo>
                    <a:cubicBezTo>
                      <a:pt x="740832" y="860904"/>
                      <a:pt x="735111" y="860191"/>
                      <a:pt x="730106" y="860191"/>
                    </a:cubicBezTo>
                    <a:cubicBezTo>
                      <a:pt x="725101" y="859477"/>
                      <a:pt x="719381" y="858764"/>
                      <a:pt x="714375" y="858051"/>
                    </a:cubicBezTo>
                    <a:cubicBezTo>
                      <a:pt x="714375" y="858051"/>
                      <a:pt x="714375" y="858051"/>
                      <a:pt x="714375" y="184734"/>
                    </a:cubicBezTo>
                    <a:cubicBezTo>
                      <a:pt x="714375" y="176175"/>
                      <a:pt x="721526" y="169043"/>
                      <a:pt x="730106" y="169043"/>
                    </a:cubicBezTo>
                    <a:cubicBezTo>
                      <a:pt x="730106" y="169043"/>
                      <a:pt x="730106" y="169043"/>
                      <a:pt x="758708" y="169043"/>
                    </a:cubicBezTo>
                    <a:cubicBezTo>
                      <a:pt x="758708" y="169043"/>
                      <a:pt x="758708" y="169043"/>
                      <a:pt x="758708" y="124107"/>
                    </a:cubicBezTo>
                    <a:cubicBezTo>
                      <a:pt x="758708" y="115548"/>
                      <a:pt x="765858" y="108416"/>
                      <a:pt x="774439" y="108416"/>
                    </a:cubicBezTo>
                    <a:cubicBezTo>
                      <a:pt x="774439" y="108416"/>
                      <a:pt x="774439" y="108416"/>
                      <a:pt x="911727" y="108416"/>
                    </a:cubicBezTo>
                    <a:cubicBezTo>
                      <a:pt x="911727" y="108416"/>
                      <a:pt x="911727" y="108416"/>
                      <a:pt x="911727" y="15692"/>
                    </a:cubicBezTo>
                    <a:cubicBezTo>
                      <a:pt x="911727" y="7133"/>
                      <a:pt x="918877" y="0"/>
                      <a:pt x="92745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spTree>
    <p:extLst>
      <p:ext uri="{BB962C8B-B14F-4D97-AF65-F5344CB8AC3E}">
        <p14:creationId xmlns:p14="http://schemas.microsoft.com/office/powerpoint/2010/main" val="436658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18F0EA-402B-C73B-B3C1-DCD2B9403D4F}"/>
              </a:ext>
            </a:extLst>
          </p:cNvPr>
          <p:cNvGraphicFramePr>
            <a:graphicFrameLocks noChangeAspect="1"/>
          </p:cNvGraphicFramePr>
          <p:nvPr>
            <p:custDataLst>
              <p:tags r:id="rId1"/>
            </p:custDataLst>
            <p:extLst>
              <p:ext uri="{D42A27DB-BD31-4B8C-83A1-F6EECF244321}">
                <p14:modId xmlns:p14="http://schemas.microsoft.com/office/powerpoint/2010/main" val="3704037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4" name="think-cell data - do not delete" hidden="1">
                        <a:extLst>
                          <a:ext uri="{FF2B5EF4-FFF2-40B4-BE49-F238E27FC236}">
                            <a16:creationId xmlns:a16="http://schemas.microsoft.com/office/drawing/2014/main" id="{5818F0EA-402B-C73B-B3C1-DCD2B9403D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E40171-6926-FB06-3965-506212955DF4}"/>
              </a:ext>
            </a:extLst>
          </p:cNvPr>
          <p:cNvSpPr>
            <a:spLocks noGrp="1"/>
          </p:cNvSpPr>
          <p:nvPr>
            <p:ph type="title"/>
          </p:nvPr>
        </p:nvSpPr>
        <p:spPr>
          <a:xfrm>
            <a:off x="630237" y="290878"/>
            <a:ext cx="11561763" cy="664797"/>
          </a:xfrm>
        </p:spPr>
        <p:txBody>
          <a:bodyPr vert="horz"/>
          <a:lstStyle/>
          <a:p>
            <a:r>
              <a:rPr lang="en-US" dirty="0"/>
              <a:t>Looking ahead | 7 Ways BSNL continues to reinvent connectivity for </a:t>
            </a:r>
            <a:r>
              <a:rPr lang="en-US" dirty="0" err="1"/>
              <a:t>Atmanirbhar</a:t>
            </a:r>
            <a:r>
              <a:rPr lang="en-US" dirty="0"/>
              <a:t> Bharat</a:t>
            </a:r>
          </a:p>
        </p:txBody>
      </p:sp>
      <p:sp>
        <p:nvSpPr>
          <p:cNvPr id="14" name="Pentagon 2">
            <a:extLst>
              <a:ext uri="{FF2B5EF4-FFF2-40B4-BE49-F238E27FC236}">
                <a16:creationId xmlns:a16="http://schemas.microsoft.com/office/drawing/2014/main" id="{39D7DDBF-FBCE-0D82-D6A4-3FA2C44D7BF0}"/>
              </a:ext>
            </a:extLst>
          </p:cNvPr>
          <p:cNvSpPr/>
          <p:nvPr/>
        </p:nvSpPr>
        <p:spPr>
          <a:xfrm>
            <a:off x="3598358" y="1482572"/>
            <a:ext cx="442401" cy="4753128"/>
          </a:xfrm>
          <a:custGeom>
            <a:avLst/>
            <a:gdLst>
              <a:gd name="connsiteX0" fmla="*/ 0 w 1349829"/>
              <a:gd name="connsiteY0" fmla="*/ 0 h 2533520"/>
              <a:gd name="connsiteX1" fmla="*/ 1045713 w 1349829"/>
              <a:gd name="connsiteY1" fmla="*/ 0 h 2533520"/>
              <a:gd name="connsiteX2" fmla="*/ 1349829 w 1349829"/>
              <a:gd name="connsiteY2" fmla="*/ 1266760 h 2533520"/>
              <a:gd name="connsiteX3" fmla="*/ 1045713 w 1349829"/>
              <a:gd name="connsiteY3" fmla="*/ 2533520 h 2533520"/>
              <a:gd name="connsiteX4" fmla="*/ 0 w 1349829"/>
              <a:gd name="connsiteY4" fmla="*/ 2533520 h 2533520"/>
              <a:gd name="connsiteX5" fmla="*/ 0 w 1349829"/>
              <a:gd name="connsiteY5" fmla="*/ 0 h 2533520"/>
              <a:gd name="connsiteX0" fmla="*/ 0 w 1349829"/>
              <a:gd name="connsiteY0" fmla="*/ 2533520 h 2533520"/>
              <a:gd name="connsiteX1" fmla="*/ 1045713 w 1349829"/>
              <a:gd name="connsiteY1" fmla="*/ 0 h 2533520"/>
              <a:gd name="connsiteX2" fmla="*/ 1349829 w 1349829"/>
              <a:gd name="connsiteY2" fmla="*/ 1266760 h 2533520"/>
              <a:gd name="connsiteX3" fmla="*/ 1045713 w 1349829"/>
              <a:gd name="connsiteY3" fmla="*/ 2533520 h 2533520"/>
              <a:gd name="connsiteX4" fmla="*/ 0 w 1349829"/>
              <a:gd name="connsiteY4" fmla="*/ 2533520 h 2533520"/>
              <a:gd name="connsiteX0" fmla="*/ 0 w 304116"/>
              <a:gd name="connsiteY0" fmla="*/ 2533520 h 2533520"/>
              <a:gd name="connsiteX1" fmla="*/ 0 w 304116"/>
              <a:gd name="connsiteY1" fmla="*/ 0 h 2533520"/>
              <a:gd name="connsiteX2" fmla="*/ 304116 w 304116"/>
              <a:gd name="connsiteY2" fmla="*/ 1266760 h 2533520"/>
              <a:gd name="connsiteX3" fmla="*/ 0 w 304116"/>
              <a:gd name="connsiteY3" fmla="*/ 2533520 h 2533520"/>
              <a:gd name="connsiteX0" fmla="*/ 0 w 304116"/>
              <a:gd name="connsiteY0" fmla="*/ 2533520 h 2624960"/>
              <a:gd name="connsiteX1" fmla="*/ 0 w 304116"/>
              <a:gd name="connsiteY1" fmla="*/ 0 h 2624960"/>
              <a:gd name="connsiteX2" fmla="*/ 304116 w 304116"/>
              <a:gd name="connsiteY2" fmla="*/ 1266760 h 2624960"/>
              <a:gd name="connsiteX3" fmla="*/ 91440 w 304116"/>
              <a:gd name="connsiteY3" fmla="*/ 2624960 h 2624960"/>
              <a:gd name="connsiteX0" fmla="*/ 0 w 304116"/>
              <a:gd name="connsiteY0" fmla="*/ 2533520 h 2624960"/>
              <a:gd name="connsiteX1" fmla="*/ 0 w 304116"/>
              <a:gd name="connsiteY1" fmla="*/ 0 h 2624960"/>
              <a:gd name="connsiteX2" fmla="*/ 304116 w 304116"/>
              <a:gd name="connsiteY2" fmla="*/ 1266760 h 2624960"/>
              <a:gd name="connsiteX3" fmla="*/ 91440 w 304116"/>
              <a:gd name="connsiteY3" fmla="*/ 2624960 h 2624960"/>
              <a:gd name="connsiteX4" fmla="*/ 0 w 304116"/>
              <a:gd name="connsiteY4" fmla="*/ 2533520 h 2624960"/>
              <a:gd name="connsiteX0" fmla="*/ 0 w 304116"/>
              <a:gd name="connsiteY0" fmla="*/ 0 h 2624960"/>
              <a:gd name="connsiteX1" fmla="*/ 304116 w 304116"/>
              <a:gd name="connsiteY1" fmla="*/ 1266760 h 2624960"/>
              <a:gd name="connsiteX2" fmla="*/ 91440 w 304116"/>
              <a:gd name="connsiteY2" fmla="*/ 2624960 h 2624960"/>
              <a:gd name="connsiteX3" fmla="*/ 0 w 304116"/>
              <a:gd name="connsiteY3" fmla="*/ 2533520 h 2624960"/>
              <a:gd name="connsiteX4" fmla="*/ 91440 w 304116"/>
              <a:gd name="connsiteY4" fmla="*/ 91440 h 2624960"/>
              <a:gd name="connsiteX0" fmla="*/ 0 w 304116"/>
              <a:gd name="connsiteY0" fmla="*/ 0 h 2624960"/>
              <a:gd name="connsiteX1" fmla="*/ 304116 w 304116"/>
              <a:gd name="connsiteY1" fmla="*/ 1266760 h 2624960"/>
              <a:gd name="connsiteX2" fmla="*/ 91440 w 304116"/>
              <a:gd name="connsiteY2" fmla="*/ 2624960 h 2624960"/>
              <a:gd name="connsiteX3" fmla="*/ 0 w 304116"/>
              <a:gd name="connsiteY3" fmla="*/ 2533520 h 2624960"/>
              <a:gd name="connsiteX0" fmla="*/ 0 w 304116"/>
              <a:gd name="connsiteY0" fmla="*/ 0 h 2624960"/>
              <a:gd name="connsiteX1" fmla="*/ 304116 w 304116"/>
              <a:gd name="connsiteY1" fmla="*/ 1266760 h 2624960"/>
              <a:gd name="connsiteX2" fmla="*/ 91440 w 304116"/>
              <a:gd name="connsiteY2" fmla="*/ 2624960 h 2624960"/>
              <a:gd name="connsiteX0" fmla="*/ 0 w 304116"/>
              <a:gd name="connsiteY0" fmla="*/ 0 h 2624960"/>
              <a:gd name="connsiteX1" fmla="*/ 304116 w 304116"/>
              <a:gd name="connsiteY1" fmla="*/ 1266760 h 2624960"/>
              <a:gd name="connsiteX2" fmla="*/ 4355 w 304116"/>
              <a:gd name="connsiteY2" fmla="*/ 2624960 h 2624960"/>
              <a:gd name="connsiteX0" fmla="*/ 0 w 304116"/>
              <a:gd name="connsiteY0" fmla="*/ 0 h 2624960"/>
              <a:gd name="connsiteX1" fmla="*/ 304116 w 304116"/>
              <a:gd name="connsiteY1" fmla="*/ 1266760 h 2624960"/>
              <a:gd name="connsiteX2" fmla="*/ 4355 w 304116"/>
              <a:gd name="connsiteY2" fmla="*/ 2624960 h 2624960"/>
              <a:gd name="connsiteX0" fmla="*/ 5693 w 309809"/>
              <a:gd name="connsiteY0" fmla="*/ 0 h 2710371"/>
              <a:gd name="connsiteX1" fmla="*/ 309809 w 309809"/>
              <a:gd name="connsiteY1" fmla="*/ 1266760 h 2710371"/>
              <a:gd name="connsiteX2" fmla="*/ 0 w 309809"/>
              <a:gd name="connsiteY2" fmla="*/ 2710371 h 2710371"/>
              <a:gd name="connsiteX0" fmla="*/ 669 w 309809"/>
              <a:gd name="connsiteY0" fmla="*/ 0 h 2866120"/>
              <a:gd name="connsiteX1" fmla="*/ 309809 w 309809"/>
              <a:gd name="connsiteY1" fmla="*/ 1422509 h 2866120"/>
              <a:gd name="connsiteX2" fmla="*/ 0 w 309809"/>
              <a:gd name="connsiteY2" fmla="*/ 2866120 h 2866120"/>
              <a:gd name="connsiteX0" fmla="*/ 669 w 309809"/>
              <a:gd name="connsiteY0" fmla="*/ 0 h 2866120"/>
              <a:gd name="connsiteX1" fmla="*/ 309809 w 309809"/>
              <a:gd name="connsiteY1" fmla="*/ 1422509 h 2866120"/>
              <a:gd name="connsiteX2" fmla="*/ 0 w 309809"/>
              <a:gd name="connsiteY2" fmla="*/ 2866120 h 2866120"/>
              <a:gd name="connsiteX0" fmla="*/ 669 w 309809"/>
              <a:gd name="connsiteY0" fmla="*/ 0 h 2866120"/>
              <a:gd name="connsiteX1" fmla="*/ 309809 w 309809"/>
              <a:gd name="connsiteY1" fmla="*/ 1422509 h 2866120"/>
              <a:gd name="connsiteX2" fmla="*/ 0 w 309809"/>
              <a:gd name="connsiteY2" fmla="*/ 2866120 h 2866120"/>
            </a:gdLst>
            <a:ahLst/>
            <a:cxnLst>
              <a:cxn ang="0">
                <a:pos x="connsiteX0" y="connsiteY0"/>
              </a:cxn>
              <a:cxn ang="0">
                <a:pos x="connsiteX1" y="connsiteY1"/>
              </a:cxn>
              <a:cxn ang="0">
                <a:pos x="connsiteX2" y="connsiteY2"/>
              </a:cxn>
            </a:cxnLst>
            <a:rect l="l" t="t" r="r" b="b"/>
            <a:pathLst>
              <a:path w="309809" h="2866120">
                <a:moveTo>
                  <a:pt x="669" y="0"/>
                </a:moveTo>
                <a:lnTo>
                  <a:pt x="309809" y="1422509"/>
                </a:lnTo>
                <a:lnTo>
                  <a:pt x="0" y="2866120"/>
                </a:lnTo>
              </a:path>
            </a:pathLst>
          </a:custGeom>
          <a:noFill/>
          <a:ln w="63500"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solidFill>
                <a:srgbClr val="FFFFFF"/>
              </a:solidFill>
            </a:endParaRPr>
          </a:p>
        </p:txBody>
      </p:sp>
      <p:sp>
        <p:nvSpPr>
          <p:cNvPr id="15" name="Freeform 60">
            <a:extLst>
              <a:ext uri="{FF2B5EF4-FFF2-40B4-BE49-F238E27FC236}">
                <a16:creationId xmlns:a16="http://schemas.microsoft.com/office/drawing/2014/main" id="{24BDD37A-892E-878F-DCED-3FB0AE6BFADA}"/>
              </a:ext>
            </a:extLst>
          </p:cNvPr>
          <p:cNvSpPr/>
          <p:nvPr/>
        </p:nvSpPr>
        <p:spPr>
          <a:xfrm>
            <a:off x="3598358" y="1482572"/>
            <a:ext cx="7964992" cy="4753129"/>
          </a:xfrm>
          <a:custGeom>
            <a:avLst/>
            <a:gdLst>
              <a:gd name="connsiteX0" fmla="*/ 0 w 5660572"/>
              <a:gd name="connsiteY0" fmla="*/ 0 h 4325257"/>
              <a:gd name="connsiteX1" fmla="*/ 5660572 w 5660572"/>
              <a:gd name="connsiteY1" fmla="*/ 0 h 4325257"/>
              <a:gd name="connsiteX2" fmla="*/ 5660572 w 5660572"/>
              <a:gd name="connsiteY2" fmla="*/ 4325257 h 4325257"/>
            </a:gdLst>
            <a:ahLst/>
            <a:cxnLst>
              <a:cxn ang="0">
                <a:pos x="connsiteX0" y="connsiteY0"/>
              </a:cxn>
              <a:cxn ang="0">
                <a:pos x="connsiteX1" y="connsiteY1"/>
              </a:cxn>
              <a:cxn ang="0">
                <a:pos x="connsiteX2" y="connsiteY2"/>
              </a:cxn>
            </a:cxnLst>
            <a:rect l="l" t="t" r="r" b="b"/>
            <a:pathLst>
              <a:path w="5660572" h="4325257">
                <a:moveTo>
                  <a:pt x="0" y="0"/>
                </a:moveTo>
                <a:lnTo>
                  <a:pt x="5660572" y="0"/>
                </a:lnTo>
                <a:lnTo>
                  <a:pt x="5660572" y="4325257"/>
                </a:lnTo>
              </a:path>
            </a:pathLst>
          </a:custGeom>
          <a:noFill/>
          <a:ln w="635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sp>
        <p:nvSpPr>
          <p:cNvPr id="16" name="Freeform 75">
            <a:extLst>
              <a:ext uri="{FF2B5EF4-FFF2-40B4-BE49-F238E27FC236}">
                <a16:creationId xmlns:a16="http://schemas.microsoft.com/office/drawing/2014/main" id="{C280B07C-A2C8-CD19-704E-1C71FD74E2EB}"/>
              </a:ext>
            </a:extLst>
          </p:cNvPr>
          <p:cNvSpPr/>
          <p:nvPr/>
        </p:nvSpPr>
        <p:spPr>
          <a:xfrm flipH="1" flipV="1">
            <a:off x="630236" y="1482568"/>
            <a:ext cx="2968640" cy="4753129"/>
          </a:xfrm>
          <a:custGeom>
            <a:avLst/>
            <a:gdLst>
              <a:gd name="connsiteX0" fmla="*/ 0 w 5660572"/>
              <a:gd name="connsiteY0" fmla="*/ 0 h 4325257"/>
              <a:gd name="connsiteX1" fmla="*/ 5660572 w 5660572"/>
              <a:gd name="connsiteY1" fmla="*/ 0 h 4325257"/>
              <a:gd name="connsiteX2" fmla="*/ 5660572 w 5660572"/>
              <a:gd name="connsiteY2" fmla="*/ 4325257 h 4325257"/>
            </a:gdLst>
            <a:ahLst/>
            <a:cxnLst>
              <a:cxn ang="0">
                <a:pos x="connsiteX0" y="connsiteY0"/>
              </a:cxn>
              <a:cxn ang="0">
                <a:pos x="connsiteX1" y="connsiteY1"/>
              </a:cxn>
              <a:cxn ang="0">
                <a:pos x="connsiteX2" y="connsiteY2"/>
              </a:cxn>
            </a:cxnLst>
            <a:rect l="l" t="t" r="r" b="b"/>
            <a:pathLst>
              <a:path w="5660572" h="4325257">
                <a:moveTo>
                  <a:pt x="0" y="0"/>
                </a:moveTo>
                <a:lnTo>
                  <a:pt x="5660572" y="0"/>
                </a:lnTo>
                <a:lnTo>
                  <a:pt x="5660572" y="4325257"/>
                </a:lnTo>
              </a:path>
            </a:pathLst>
          </a:custGeom>
          <a:noFill/>
          <a:ln w="635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sp>
        <p:nvSpPr>
          <p:cNvPr id="17" name="Freeform: Shape 16">
            <a:extLst>
              <a:ext uri="{FF2B5EF4-FFF2-40B4-BE49-F238E27FC236}">
                <a16:creationId xmlns:a16="http://schemas.microsoft.com/office/drawing/2014/main" id="{F4635236-C3CD-3CB5-E86F-1354E695E926}"/>
              </a:ext>
            </a:extLst>
          </p:cNvPr>
          <p:cNvSpPr/>
          <p:nvPr/>
        </p:nvSpPr>
        <p:spPr>
          <a:xfrm flipH="1">
            <a:off x="3738081" y="1622002"/>
            <a:ext cx="7680076" cy="4638462"/>
          </a:xfrm>
          <a:custGeom>
            <a:avLst/>
            <a:gdLst>
              <a:gd name="connsiteX0" fmla="*/ 4982865 w 5416802"/>
              <a:gd name="connsiteY0" fmla="*/ 0 h 4152637"/>
              <a:gd name="connsiteX1" fmla="*/ 0 w 5416802"/>
              <a:gd name="connsiteY1" fmla="*/ 0 h 4152637"/>
              <a:gd name="connsiteX2" fmla="*/ 0 w 5416802"/>
              <a:gd name="connsiteY2" fmla="*/ 4152637 h 4152637"/>
              <a:gd name="connsiteX3" fmla="*/ 4982865 w 5416802"/>
              <a:gd name="connsiteY3" fmla="*/ 4152637 h 4152637"/>
              <a:gd name="connsiteX4" fmla="*/ 5416802 w 5416802"/>
              <a:gd name="connsiteY4" fmla="*/ 4152637 h 4152637"/>
              <a:gd name="connsiteX5" fmla="*/ 4984874 w 5416802"/>
              <a:gd name="connsiteY5" fmla="*/ 2076318 h 4152637"/>
              <a:gd name="connsiteX6" fmla="*/ 5416802 w 5416802"/>
              <a:gd name="connsiteY6" fmla="*/ 0 h 4152637"/>
              <a:gd name="connsiteX7" fmla="*/ 4982865 w 5416802"/>
              <a:gd name="connsiteY7" fmla="*/ 0 h 4152637"/>
              <a:gd name="connsiteX0" fmla="*/ 4982865 w 5416802"/>
              <a:gd name="connsiteY0" fmla="*/ 0 h 4152637"/>
              <a:gd name="connsiteX1" fmla="*/ 0 w 5416802"/>
              <a:gd name="connsiteY1" fmla="*/ 0 h 4152637"/>
              <a:gd name="connsiteX2" fmla="*/ 0 w 5416802"/>
              <a:gd name="connsiteY2" fmla="*/ 4152637 h 4152637"/>
              <a:gd name="connsiteX3" fmla="*/ 4982865 w 5416802"/>
              <a:gd name="connsiteY3" fmla="*/ 4152637 h 4152637"/>
              <a:gd name="connsiteX4" fmla="*/ 5416802 w 5416802"/>
              <a:gd name="connsiteY4" fmla="*/ 4152637 h 4152637"/>
              <a:gd name="connsiteX5" fmla="*/ 5104399 w 5416802"/>
              <a:gd name="connsiteY5" fmla="*/ 2044527 h 4152637"/>
              <a:gd name="connsiteX6" fmla="*/ 5416802 w 5416802"/>
              <a:gd name="connsiteY6" fmla="*/ 0 h 4152637"/>
              <a:gd name="connsiteX7" fmla="*/ 4982865 w 5416802"/>
              <a:gd name="connsiteY7" fmla="*/ 0 h 4152637"/>
              <a:gd name="connsiteX0" fmla="*/ 4982865 w 5416802"/>
              <a:gd name="connsiteY0" fmla="*/ 0 h 4152637"/>
              <a:gd name="connsiteX1" fmla="*/ 0 w 5416802"/>
              <a:gd name="connsiteY1" fmla="*/ 0 h 4152637"/>
              <a:gd name="connsiteX2" fmla="*/ 0 w 5416802"/>
              <a:gd name="connsiteY2" fmla="*/ 4152637 h 4152637"/>
              <a:gd name="connsiteX3" fmla="*/ 4982865 w 5416802"/>
              <a:gd name="connsiteY3" fmla="*/ 4152637 h 4152637"/>
              <a:gd name="connsiteX4" fmla="*/ 5416802 w 5416802"/>
              <a:gd name="connsiteY4" fmla="*/ 4152637 h 4152637"/>
              <a:gd name="connsiteX5" fmla="*/ 5122328 w 5416802"/>
              <a:gd name="connsiteY5" fmla="*/ 2028631 h 4152637"/>
              <a:gd name="connsiteX6" fmla="*/ 5416802 w 5416802"/>
              <a:gd name="connsiteY6" fmla="*/ 0 h 4152637"/>
              <a:gd name="connsiteX7" fmla="*/ 4982865 w 5416802"/>
              <a:gd name="connsiteY7" fmla="*/ 0 h 4152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16802" h="4152637">
                <a:moveTo>
                  <a:pt x="4982865" y="0"/>
                </a:moveTo>
                <a:lnTo>
                  <a:pt x="0" y="0"/>
                </a:lnTo>
                <a:lnTo>
                  <a:pt x="0" y="4152637"/>
                </a:lnTo>
                <a:lnTo>
                  <a:pt x="4982865" y="4152637"/>
                </a:lnTo>
                <a:lnTo>
                  <a:pt x="5416802" y="4152637"/>
                </a:lnTo>
                <a:lnTo>
                  <a:pt x="5122328" y="2028631"/>
                </a:lnTo>
                <a:lnTo>
                  <a:pt x="5416802" y="0"/>
                </a:lnTo>
                <a:lnTo>
                  <a:pt x="4982865" y="0"/>
                </a:lnTo>
                <a:close/>
              </a:path>
            </a:pathLst>
          </a:custGeom>
          <a:solidFill>
            <a:srgbClr val="FFFFFF"/>
          </a:solidFill>
          <a:ln w="9525" cap="rnd" cmpd="sng" algn="ctr">
            <a:solidFill>
              <a:srgbClr val="0DA3E2"/>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200" b="0" i="0" u="none" strike="noStrike" kern="0" cap="none" spc="0" normalizeH="0" baseline="0" noProof="0">
              <a:ln>
                <a:noFill/>
              </a:ln>
              <a:solidFill>
                <a:srgbClr val="FFFFFF"/>
              </a:solidFill>
              <a:effectLst/>
              <a:uLnTx/>
              <a:uFillTx/>
            </a:endParaRPr>
          </a:p>
        </p:txBody>
      </p:sp>
      <p:pic>
        <p:nvPicPr>
          <p:cNvPr id="18" name="Picture 17">
            <a:extLst>
              <a:ext uri="{FF2B5EF4-FFF2-40B4-BE49-F238E27FC236}">
                <a16:creationId xmlns:a16="http://schemas.microsoft.com/office/drawing/2014/main" id="{ED540CD2-718E-0FF3-8D62-8416CBFF0E55}"/>
              </a:ext>
            </a:extLst>
          </p:cNvPr>
          <p:cNvPicPr>
            <a:picLocks noChangeAspect="1"/>
          </p:cNvPicPr>
          <p:nvPr/>
        </p:nvPicPr>
        <p:blipFill>
          <a:blip r:embed="rId7"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61586" y="2367838"/>
            <a:ext cx="2651233" cy="1182250"/>
          </a:xfrm>
          <a:prstGeom prst="rect">
            <a:avLst/>
          </a:prstGeom>
        </p:spPr>
      </p:pic>
      <p:sp>
        <p:nvSpPr>
          <p:cNvPr id="19" name="Rectangle: Rounded Corners 18">
            <a:extLst>
              <a:ext uri="{FF2B5EF4-FFF2-40B4-BE49-F238E27FC236}">
                <a16:creationId xmlns:a16="http://schemas.microsoft.com/office/drawing/2014/main" id="{54B696D1-8917-B2E5-D22C-19A416D094AC}"/>
              </a:ext>
            </a:extLst>
          </p:cNvPr>
          <p:cNvSpPr/>
          <p:nvPr/>
        </p:nvSpPr>
        <p:spPr>
          <a:xfrm>
            <a:off x="761586" y="1597237"/>
            <a:ext cx="2779398" cy="448923"/>
          </a:xfrm>
          <a:prstGeom prst="roundRect">
            <a:avLst>
              <a:gd name="adj" fmla="val 50000"/>
            </a:avLst>
          </a:prstGeom>
          <a:solidFill>
            <a:schemeClr val="accent4">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27432" rIns="27432" bIns="27432" numCol="1" spcCol="0" rtlCol="0" fromWordArt="0" anchor="ctr" anchorCtr="0" forceAA="0" compatLnSpc="1">
            <a:prstTxWarp prst="textNoShape">
              <a:avLst/>
            </a:prstTxWarp>
            <a:noAutofit/>
          </a:bodyPr>
          <a:lstStyle/>
          <a:p>
            <a:r>
              <a:rPr lang="en-US">
                <a:solidFill>
                  <a:srgbClr val="0DA3E2"/>
                </a:solidFill>
              </a:rPr>
              <a:t>Pillars of BSNL</a:t>
            </a:r>
          </a:p>
        </p:txBody>
      </p:sp>
      <p:sp>
        <p:nvSpPr>
          <p:cNvPr id="20" name="Rectangle 19">
            <a:extLst>
              <a:ext uri="{FF2B5EF4-FFF2-40B4-BE49-F238E27FC236}">
                <a16:creationId xmlns:a16="http://schemas.microsoft.com/office/drawing/2014/main" id="{E6DB77BF-5A72-2929-98D3-51931AD22831}"/>
              </a:ext>
            </a:extLst>
          </p:cNvPr>
          <p:cNvSpPr/>
          <p:nvPr/>
        </p:nvSpPr>
        <p:spPr>
          <a:xfrm>
            <a:off x="723275" y="4487495"/>
            <a:ext cx="2817709" cy="1384995"/>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DA3E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486000" lvl="1" indent="-324000">
              <a:buClr>
                <a:srgbClr val="0DA3E2"/>
              </a:buClr>
              <a:buFont typeface="Trebuchet MS" panose="020B0603020202020204" pitchFamily="34" charset="0"/>
              <a:buChar char="•"/>
            </a:pPr>
            <a:r>
              <a:rPr lang="en-US">
                <a:solidFill>
                  <a:srgbClr val="FF7777"/>
                </a:solidFill>
              </a:rPr>
              <a:t>Security</a:t>
            </a:r>
          </a:p>
          <a:p>
            <a:pPr marL="486000" lvl="1" indent="-324000">
              <a:buClr>
                <a:srgbClr val="0DA3E2"/>
              </a:buClr>
              <a:buFont typeface="Trebuchet MS" panose="020B0603020202020204" pitchFamily="34" charset="0"/>
              <a:buChar char="•"/>
            </a:pPr>
            <a:endParaRPr lang="en-US">
              <a:solidFill>
                <a:srgbClr val="333333"/>
              </a:solidFill>
            </a:endParaRPr>
          </a:p>
          <a:p>
            <a:pPr marL="486000" lvl="1" indent="-324000">
              <a:buClr>
                <a:srgbClr val="0DA3E2"/>
              </a:buClr>
              <a:buFont typeface="Trebuchet MS" panose="020B0603020202020204" pitchFamily="34" charset="0"/>
              <a:buChar char="•"/>
            </a:pPr>
            <a:r>
              <a:rPr lang="en-US">
                <a:solidFill>
                  <a:srgbClr val="05455F"/>
                </a:solidFill>
              </a:rPr>
              <a:t>Affordability</a:t>
            </a:r>
          </a:p>
          <a:p>
            <a:pPr marL="486000" lvl="1" indent="-324000">
              <a:buClr>
                <a:srgbClr val="0DA3E2"/>
              </a:buClr>
              <a:buFont typeface="Trebuchet MS" panose="020B0603020202020204" pitchFamily="34" charset="0"/>
              <a:buChar char="•"/>
            </a:pPr>
            <a:endParaRPr lang="en-US">
              <a:solidFill>
                <a:srgbClr val="333333"/>
              </a:solidFill>
            </a:endParaRPr>
          </a:p>
          <a:p>
            <a:pPr marL="486000" lvl="1" indent="-324000">
              <a:buClr>
                <a:srgbClr val="0DA3E2"/>
              </a:buClr>
              <a:buFont typeface="Trebuchet MS" panose="020B0603020202020204" pitchFamily="34" charset="0"/>
              <a:buChar char="•"/>
            </a:pPr>
            <a:r>
              <a:rPr lang="en-US">
                <a:solidFill>
                  <a:srgbClr val="197A56"/>
                </a:solidFill>
              </a:rPr>
              <a:t>Reliability</a:t>
            </a:r>
          </a:p>
        </p:txBody>
      </p:sp>
      <p:sp>
        <p:nvSpPr>
          <p:cNvPr id="21" name="Rectangle: Rounded Corners 20">
            <a:extLst>
              <a:ext uri="{FF2B5EF4-FFF2-40B4-BE49-F238E27FC236}">
                <a16:creationId xmlns:a16="http://schemas.microsoft.com/office/drawing/2014/main" id="{5F4DF088-9CBA-130A-0D71-ED386884F878}"/>
              </a:ext>
            </a:extLst>
          </p:cNvPr>
          <p:cNvSpPr/>
          <p:nvPr/>
        </p:nvSpPr>
        <p:spPr>
          <a:xfrm>
            <a:off x="761586" y="3871765"/>
            <a:ext cx="2779398" cy="448923"/>
          </a:xfrm>
          <a:prstGeom prst="roundRect">
            <a:avLst>
              <a:gd name="adj" fmla="val 50000"/>
            </a:avLst>
          </a:prstGeom>
          <a:solidFill>
            <a:schemeClr val="accent4">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27432" rIns="27432" bIns="27432" numCol="1" spcCol="0" rtlCol="0" fromWordArt="0" anchor="ctr" anchorCtr="0" forceAA="0" compatLnSpc="1">
            <a:prstTxWarp prst="textNoShape">
              <a:avLst/>
            </a:prstTxWarp>
            <a:noAutofit/>
          </a:bodyPr>
          <a:lstStyle/>
          <a:p>
            <a:r>
              <a:rPr lang="en-US">
                <a:solidFill>
                  <a:srgbClr val="0DA3E2"/>
                </a:solidFill>
              </a:rPr>
              <a:t>Built on key pillars</a:t>
            </a:r>
          </a:p>
        </p:txBody>
      </p:sp>
      <p:grpSp>
        <p:nvGrpSpPr>
          <p:cNvPr id="22" name="Group 21">
            <a:extLst>
              <a:ext uri="{FF2B5EF4-FFF2-40B4-BE49-F238E27FC236}">
                <a16:creationId xmlns:a16="http://schemas.microsoft.com/office/drawing/2014/main" id="{1D218304-E663-8E99-DEFF-3B7AF72632B6}"/>
              </a:ext>
            </a:extLst>
          </p:cNvPr>
          <p:cNvGrpSpPr/>
          <p:nvPr/>
        </p:nvGrpSpPr>
        <p:grpSpPr>
          <a:xfrm>
            <a:off x="761586" y="3875196"/>
            <a:ext cx="442059" cy="442059"/>
            <a:chOff x="761586" y="3875196"/>
            <a:chExt cx="442059" cy="442059"/>
          </a:xfrm>
        </p:grpSpPr>
        <p:sp>
          <p:nvSpPr>
            <p:cNvPr id="23" name="Oval 22">
              <a:extLst>
                <a:ext uri="{FF2B5EF4-FFF2-40B4-BE49-F238E27FC236}">
                  <a16:creationId xmlns:a16="http://schemas.microsoft.com/office/drawing/2014/main" id="{06FA8835-EA28-9757-5945-8A10409DF461}"/>
                </a:ext>
              </a:extLst>
            </p:cNvPr>
            <p:cNvSpPr/>
            <p:nvPr>
              <p:custDataLst>
                <p:tags r:id="rId3"/>
              </p:custDataLst>
            </p:nvPr>
          </p:nvSpPr>
          <p:spPr>
            <a:xfrm>
              <a:off x="761586" y="3875196"/>
              <a:ext cx="442059" cy="442059"/>
            </a:xfrm>
            <a:prstGeom prst="ellipse">
              <a:avLst/>
            </a:prstGeom>
            <a:solidFill>
              <a:srgbClr val="FFFFFF"/>
            </a:solidFill>
            <a:ln w="19050" cap="flat" cmpd="sng" algn="ctr">
              <a:gradFill flip="none" rotWithShape="1">
                <a:gsLst>
                  <a:gs pos="100000">
                    <a:srgbClr val="0DA3E2"/>
                  </a:gs>
                  <a:gs pos="0">
                    <a:srgbClr val="05455F"/>
                  </a:gs>
                </a:gsLst>
                <a:lin ang="13500000" scaled="1"/>
                <a:tileRect/>
              </a:gradFill>
              <a:prstDash val="solid"/>
              <a:miter lim="800000"/>
              <a:headEnd type="none" w="med" len="med"/>
              <a:tailEnd type="none" w="med" len="med"/>
            </a:ln>
            <a:effectLst/>
          </p:spPr>
          <p:txBody>
            <a:bodyPr lIns="0" tIns="0" rIns="0" bIns="0" rtlCol="0" anchor="ctr"/>
            <a:lstStyle/>
            <a:p>
              <a:pPr algn="ctr"/>
              <a:endParaRPr lang="en-US" kern="0">
                <a:solidFill>
                  <a:srgbClr val="333333"/>
                </a:solidFill>
              </a:endParaRPr>
            </a:p>
          </p:txBody>
        </p:sp>
        <p:grpSp>
          <p:nvGrpSpPr>
            <p:cNvPr id="24" name="bcgIcons_Key ">
              <a:extLst>
                <a:ext uri="{FF2B5EF4-FFF2-40B4-BE49-F238E27FC236}">
                  <a16:creationId xmlns:a16="http://schemas.microsoft.com/office/drawing/2014/main" id="{15525F93-93D1-7BE9-1379-0A860EF3F17C}"/>
                </a:ext>
              </a:extLst>
            </p:cNvPr>
            <p:cNvGrpSpPr>
              <a:grpSpLocks noChangeAspect="1"/>
            </p:cNvGrpSpPr>
            <p:nvPr/>
          </p:nvGrpSpPr>
          <p:grpSpPr>
            <a:xfrm>
              <a:off x="826324" y="3939934"/>
              <a:ext cx="312583" cy="312583"/>
              <a:chOff x="5273675" y="2606675"/>
              <a:chExt cx="1644650" cy="1644650"/>
            </a:xfrm>
          </p:grpSpPr>
          <p:sp>
            <p:nvSpPr>
              <p:cNvPr id="25" name="AutoShape 9">
                <a:extLst>
                  <a:ext uri="{FF2B5EF4-FFF2-40B4-BE49-F238E27FC236}">
                    <a16:creationId xmlns:a16="http://schemas.microsoft.com/office/drawing/2014/main" id="{1F128CDE-2747-4887-DF18-83D3E9EE67D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6" name="Group 25">
                <a:extLst>
                  <a:ext uri="{FF2B5EF4-FFF2-40B4-BE49-F238E27FC236}">
                    <a16:creationId xmlns:a16="http://schemas.microsoft.com/office/drawing/2014/main" id="{05FB1B62-1B49-01CF-8AFF-A2A389A7F3B4}"/>
                  </a:ext>
                </a:extLst>
              </p:cNvPr>
              <p:cNvGrpSpPr/>
              <p:nvPr/>
            </p:nvGrpSpPr>
            <p:grpSpPr>
              <a:xfrm>
                <a:off x="5399088" y="3084513"/>
                <a:ext cx="1422880" cy="688975"/>
                <a:chOff x="5399088" y="3084513"/>
                <a:chExt cx="1422880" cy="688975"/>
              </a:xfrm>
            </p:grpSpPr>
            <p:sp>
              <p:nvSpPr>
                <p:cNvPr id="27" name="Freeform 10">
                  <a:extLst>
                    <a:ext uri="{FF2B5EF4-FFF2-40B4-BE49-F238E27FC236}">
                      <a16:creationId xmlns:a16="http://schemas.microsoft.com/office/drawing/2014/main" id="{382F5D20-6D69-4E91-BBE9-146F6736DE70}"/>
                    </a:ext>
                  </a:extLst>
                </p:cNvPr>
                <p:cNvSpPr>
                  <a:spLocks/>
                </p:cNvSpPr>
                <p:nvPr/>
              </p:nvSpPr>
              <p:spPr bwMode="auto">
                <a:xfrm>
                  <a:off x="5399088" y="3084513"/>
                  <a:ext cx="1422880" cy="688975"/>
                </a:xfrm>
                <a:custGeom>
                  <a:avLst/>
                  <a:gdLst>
                    <a:gd name="connsiteX0" fmla="*/ 305195 w 1422880"/>
                    <a:gd name="connsiteY0" fmla="*/ 31750 h 688975"/>
                    <a:gd name="connsiteX1" fmla="*/ 31750 w 1422880"/>
                    <a:gd name="connsiteY1" fmla="*/ 344488 h 688975"/>
                    <a:gd name="connsiteX2" fmla="*/ 305195 w 1422880"/>
                    <a:gd name="connsiteY2" fmla="*/ 657225 h 688975"/>
                    <a:gd name="connsiteX3" fmla="*/ 567930 w 1422880"/>
                    <a:gd name="connsiteY3" fmla="*/ 434248 h 688975"/>
                    <a:gd name="connsiteX4" fmla="*/ 1302590 w 1422880"/>
                    <a:gd name="connsiteY4" fmla="*/ 434248 h 688975"/>
                    <a:gd name="connsiteX5" fmla="*/ 1381125 w 1422880"/>
                    <a:gd name="connsiteY5" fmla="*/ 358023 h 688975"/>
                    <a:gd name="connsiteX6" fmla="*/ 1240476 w 1422880"/>
                    <a:gd name="connsiteY6" fmla="*/ 266125 h 688975"/>
                    <a:gd name="connsiteX7" fmla="*/ 1158371 w 1422880"/>
                    <a:gd name="connsiteY7" fmla="*/ 317417 h 688975"/>
                    <a:gd name="connsiteX8" fmla="*/ 1033429 w 1422880"/>
                    <a:gd name="connsiteY8" fmla="*/ 317417 h 688975"/>
                    <a:gd name="connsiteX9" fmla="*/ 1004871 w 1422880"/>
                    <a:gd name="connsiteY9" fmla="*/ 274674 h 688975"/>
                    <a:gd name="connsiteX10" fmla="*/ 919910 w 1422880"/>
                    <a:gd name="connsiteY10" fmla="*/ 274674 h 688975"/>
                    <a:gd name="connsiteX11" fmla="*/ 868506 w 1422880"/>
                    <a:gd name="connsiteY11" fmla="*/ 311718 h 688975"/>
                    <a:gd name="connsiteX12" fmla="*/ 767838 w 1422880"/>
                    <a:gd name="connsiteY12" fmla="*/ 311718 h 688975"/>
                    <a:gd name="connsiteX13" fmla="*/ 716433 w 1422880"/>
                    <a:gd name="connsiteY13" fmla="*/ 249028 h 688975"/>
                    <a:gd name="connsiteX14" fmla="*/ 566503 w 1422880"/>
                    <a:gd name="connsiteY14" fmla="*/ 249028 h 688975"/>
                    <a:gd name="connsiteX15" fmla="*/ 305195 w 1422880"/>
                    <a:gd name="connsiteY15" fmla="*/ 31750 h 688975"/>
                    <a:gd name="connsiteX16" fmla="*/ 304970 w 1422880"/>
                    <a:gd name="connsiteY16" fmla="*/ 0 h 688975"/>
                    <a:gd name="connsiteX17" fmla="*/ 488524 w 1422880"/>
                    <a:gd name="connsiteY17" fmla="*/ 69183 h 688975"/>
                    <a:gd name="connsiteX18" fmla="*/ 585657 w 1422880"/>
                    <a:gd name="connsiteY18" fmla="*/ 207549 h 688975"/>
                    <a:gd name="connsiteX19" fmla="*/ 599942 w 1422880"/>
                    <a:gd name="connsiteY19" fmla="*/ 217534 h 688975"/>
                    <a:gd name="connsiteX20" fmla="*/ 723501 w 1422880"/>
                    <a:gd name="connsiteY20" fmla="*/ 217534 h 688975"/>
                    <a:gd name="connsiteX21" fmla="*/ 735643 w 1422880"/>
                    <a:gd name="connsiteY21" fmla="*/ 223239 h 688975"/>
                    <a:gd name="connsiteX22" fmla="*/ 777781 w 1422880"/>
                    <a:gd name="connsiteY22" fmla="*/ 274592 h 688975"/>
                    <a:gd name="connsiteX23" fmla="*/ 789923 w 1422880"/>
                    <a:gd name="connsiteY23" fmla="*/ 280297 h 688975"/>
                    <a:gd name="connsiteX24" fmla="*/ 852774 w 1422880"/>
                    <a:gd name="connsiteY24" fmla="*/ 280297 h 688975"/>
                    <a:gd name="connsiteX25" fmla="*/ 862059 w 1422880"/>
                    <a:gd name="connsiteY25" fmla="*/ 277445 h 688975"/>
                    <a:gd name="connsiteX26" fmla="*/ 905626 w 1422880"/>
                    <a:gd name="connsiteY26" fmla="*/ 246063 h 688975"/>
                    <a:gd name="connsiteX27" fmla="*/ 914197 w 1422880"/>
                    <a:gd name="connsiteY27" fmla="*/ 243210 h 688975"/>
                    <a:gd name="connsiteX28" fmla="*/ 1013473 w 1422880"/>
                    <a:gd name="connsiteY28" fmla="*/ 243210 h 688975"/>
                    <a:gd name="connsiteX29" fmla="*/ 1027043 w 1422880"/>
                    <a:gd name="connsiteY29" fmla="*/ 250342 h 688975"/>
                    <a:gd name="connsiteX30" fmla="*/ 1046327 w 1422880"/>
                    <a:gd name="connsiteY30" fmla="*/ 278871 h 688975"/>
                    <a:gd name="connsiteX31" fmla="*/ 1059182 w 1422880"/>
                    <a:gd name="connsiteY31" fmla="*/ 286003 h 688975"/>
                    <a:gd name="connsiteX32" fmla="*/ 1144888 w 1422880"/>
                    <a:gd name="connsiteY32" fmla="*/ 286003 h 688975"/>
                    <a:gd name="connsiteX33" fmla="*/ 1152745 w 1422880"/>
                    <a:gd name="connsiteY33" fmla="*/ 283864 h 688975"/>
                    <a:gd name="connsiteX34" fmla="*/ 1232737 w 1422880"/>
                    <a:gd name="connsiteY34" fmla="*/ 234651 h 688975"/>
                    <a:gd name="connsiteX35" fmla="*/ 1249164 w 1422880"/>
                    <a:gd name="connsiteY35" fmla="*/ 234651 h 688975"/>
                    <a:gd name="connsiteX36" fmla="*/ 1415576 w 1422880"/>
                    <a:gd name="connsiteY36" fmla="*/ 343061 h 688975"/>
                    <a:gd name="connsiteX37" fmla="*/ 1417719 w 1422880"/>
                    <a:gd name="connsiteY37" fmla="*/ 367311 h 688975"/>
                    <a:gd name="connsiteX38" fmla="*/ 1319871 w 1422880"/>
                    <a:gd name="connsiteY38" fmla="*/ 461456 h 688975"/>
                    <a:gd name="connsiteX39" fmla="*/ 1309158 w 1422880"/>
                    <a:gd name="connsiteY39" fmla="*/ 465736 h 688975"/>
                    <a:gd name="connsiteX40" fmla="*/ 602798 w 1422880"/>
                    <a:gd name="connsiteY40" fmla="*/ 465736 h 688975"/>
                    <a:gd name="connsiteX41" fmla="*/ 587800 w 1422880"/>
                    <a:gd name="connsiteY41" fmla="*/ 475721 h 688975"/>
                    <a:gd name="connsiteX42" fmla="*/ 490667 w 1422880"/>
                    <a:gd name="connsiteY42" fmla="*/ 617653 h 688975"/>
                    <a:gd name="connsiteX43" fmla="*/ 304970 w 1422880"/>
                    <a:gd name="connsiteY43" fmla="*/ 688975 h 688975"/>
                    <a:gd name="connsiteX44" fmla="*/ 0 w 1422880"/>
                    <a:gd name="connsiteY44" fmla="*/ 344488 h 688975"/>
                    <a:gd name="connsiteX45" fmla="*/ 304970 w 1422880"/>
                    <a:gd name="connsiteY45" fmla="*/ 0 h 68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22880" h="688975">
                      <a:moveTo>
                        <a:pt x="305195" y="31750"/>
                      </a:moveTo>
                      <a:cubicBezTo>
                        <a:pt x="154551" y="31750"/>
                        <a:pt x="31750" y="171378"/>
                        <a:pt x="31750" y="344488"/>
                      </a:cubicBezTo>
                      <a:cubicBezTo>
                        <a:pt x="31750" y="517597"/>
                        <a:pt x="154551" y="657225"/>
                        <a:pt x="305195" y="657225"/>
                      </a:cubicBezTo>
                      <a:cubicBezTo>
                        <a:pt x="429423" y="657225"/>
                        <a:pt x="533661" y="563190"/>
                        <a:pt x="567930" y="434248"/>
                      </a:cubicBezTo>
                      <a:cubicBezTo>
                        <a:pt x="567930" y="434248"/>
                        <a:pt x="567930" y="434248"/>
                        <a:pt x="1302590" y="434248"/>
                      </a:cubicBezTo>
                      <a:cubicBezTo>
                        <a:pt x="1302590" y="434248"/>
                        <a:pt x="1302590" y="434248"/>
                        <a:pt x="1381125" y="358023"/>
                      </a:cubicBezTo>
                      <a:cubicBezTo>
                        <a:pt x="1381125" y="358023"/>
                        <a:pt x="1381125" y="358023"/>
                        <a:pt x="1240476" y="266125"/>
                      </a:cubicBezTo>
                      <a:cubicBezTo>
                        <a:pt x="1240476" y="266125"/>
                        <a:pt x="1240476" y="266125"/>
                        <a:pt x="1158371" y="317417"/>
                      </a:cubicBezTo>
                      <a:cubicBezTo>
                        <a:pt x="1158371" y="317417"/>
                        <a:pt x="1158371" y="317417"/>
                        <a:pt x="1033429" y="317417"/>
                      </a:cubicBezTo>
                      <a:cubicBezTo>
                        <a:pt x="1033429" y="317417"/>
                        <a:pt x="1033429" y="317417"/>
                        <a:pt x="1004871" y="274674"/>
                      </a:cubicBezTo>
                      <a:cubicBezTo>
                        <a:pt x="1004871" y="274674"/>
                        <a:pt x="1004871" y="274674"/>
                        <a:pt x="919910" y="274674"/>
                      </a:cubicBezTo>
                      <a:cubicBezTo>
                        <a:pt x="919910" y="274674"/>
                        <a:pt x="919910" y="274674"/>
                        <a:pt x="868506" y="311718"/>
                      </a:cubicBezTo>
                      <a:cubicBezTo>
                        <a:pt x="868506" y="311718"/>
                        <a:pt x="868506" y="311718"/>
                        <a:pt x="767838" y="311718"/>
                      </a:cubicBezTo>
                      <a:cubicBezTo>
                        <a:pt x="767838" y="311718"/>
                        <a:pt x="767838" y="311718"/>
                        <a:pt x="716433" y="249028"/>
                      </a:cubicBezTo>
                      <a:cubicBezTo>
                        <a:pt x="716433" y="249028"/>
                        <a:pt x="716433" y="249028"/>
                        <a:pt x="566503" y="249028"/>
                      </a:cubicBezTo>
                      <a:cubicBezTo>
                        <a:pt x="530805" y="123648"/>
                        <a:pt x="427281" y="31750"/>
                        <a:pt x="305195" y="31750"/>
                      </a:cubicBezTo>
                      <a:close/>
                      <a:moveTo>
                        <a:pt x="304970" y="0"/>
                      </a:moveTo>
                      <a:cubicBezTo>
                        <a:pt x="371393" y="0"/>
                        <a:pt x="434958" y="24250"/>
                        <a:pt x="488524" y="69183"/>
                      </a:cubicBezTo>
                      <a:cubicBezTo>
                        <a:pt x="531377" y="105557"/>
                        <a:pt x="564231" y="152630"/>
                        <a:pt x="585657" y="207549"/>
                      </a:cubicBezTo>
                      <a:cubicBezTo>
                        <a:pt x="587800" y="213968"/>
                        <a:pt x="593514" y="217534"/>
                        <a:pt x="599942" y="217534"/>
                      </a:cubicBezTo>
                      <a:cubicBezTo>
                        <a:pt x="599942" y="217534"/>
                        <a:pt x="599942" y="217534"/>
                        <a:pt x="723501" y="217534"/>
                      </a:cubicBezTo>
                      <a:cubicBezTo>
                        <a:pt x="728500" y="217534"/>
                        <a:pt x="732786" y="219673"/>
                        <a:pt x="735643" y="223239"/>
                      </a:cubicBezTo>
                      <a:cubicBezTo>
                        <a:pt x="735643" y="223239"/>
                        <a:pt x="735643" y="223239"/>
                        <a:pt x="777781" y="274592"/>
                      </a:cubicBezTo>
                      <a:cubicBezTo>
                        <a:pt x="780638" y="278158"/>
                        <a:pt x="784924" y="280297"/>
                        <a:pt x="789923" y="280297"/>
                      </a:cubicBezTo>
                      <a:cubicBezTo>
                        <a:pt x="789923" y="280297"/>
                        <a:pt x="789923" y="280297"/>
                        <a:pt x="852774" y="280297"/>
                      </a:cubicBezTo>
                      <a:cubicBezTo>
                        <a:pt x="856345" y="280297"/>
                        <a:pt x="859202" y="279584"/>
                        <a:pt x="862059" y="277445"/>
                      </a:cubicBezTo>
                      <a:cubicBezTo>
                        <a:pt x="862059" y="277445"/>
                        <a:pt x="862059" y="277445"/>
                        <a:pt x="905626" y="246063"/>
                      </a:cubicBezTo>
                      <a:cubicBezTo>
                        <a:pt x="907769" y="244636"/>
                        <a:pt x="911340" y="243210"/>
                        <a:pt x="914197" y="243210"/>
                      </a:cubicBezTo>
                      <a:cubicBezTo>
                        <a:pt x="914197" y="243210"/>
                        <a:pt x="914197" y="243210"/>
                        <a:pt x="1013473" y="243210"/>
                      </a:cubicBezTo>
                      <a:cubicBezTo>
                        <a:pt x="1019186" y="243210"/>
                        <a:pt x="1024186" y="246063"/>
                        <a:pt x="1027043" y="250342"/>
                      </a:cubicBezTo>
                      <a:cubicBezTo>
                        <a:pt x="1027043" y="250342"/>
                        <a:pt x="1027043" y="250342"/>
                        <a:pt x="1046327" y="278871"/>
                      </a:cubicBezTo>
                      <a:cubicBezTo>
                        <a:pt x="1049183" y="283864"/>
                        <a:pt x="1054183" y="286003"/>
                        <a:pt x="1059182" y="286003"/>
                      </a:cubicBezTo>
                      <a:cubicBezTo>
                        <a:pt x="1059182" y="286003"/>
                        <a:pt x="1059182" y="286003"/>
                        <a:pt x="1144888" y="286003"/>
                      </a:cubicBezTo>
                      <a:cubicBezTo>
                        <a:pt x="1147745" y="286003"/>
                        <a:pt x="1150602" y="285290"/>
                        <a:pt x="1152745" y="283864"/>
                      </a:cubicBezTo>
                      <a:lnTo>
                        <a:pt x="1232737" y="234651"/>
                      </a:lnTo>
                      <a:cubicBezTo>
                        <a:pt x="1237736" y="231085"/>
                        <a:pt x="1244164" y="231085"/>
                        <a:pt x="1249164" y="234651"/>
                      </a:cubicBezTo>
                      <a:cubicBezTo>
                        <a:pt x="1249164" y="234651"/>
                        <a:pt x="1249164" y="234651"/>
                        <a:pt x="1415576" y="343061"/>
                      </a:cubicBezTo>
                      <a:cubicBezTo>
                        <a:pt x="1424147" y="348767"/>
                        <a:pt x="1425575" y="360179"/>
                        <a:pt x="1417719" y="367311"/>
                      </a:cubicBezTo>
                      <a:cubicBezTo>
                        <a:pt x="1417719" y="367311"/>
                        <a:pt x="1417719" y="367311"/>
                        <a:pt x="1319871" y="461456"/>
                      </a:cubicBezTo>
                      <a:cubicBezTo>
                        <a:pt x="1317014" y="464309"/>
                        <a:pt x="1312729" y="465736"/>
                        <a:pt x="1309158" y="465736"/>
                      </a:cubicBezTo>
                      <a:cubicBezTo>
                        <a:pt x="1309158" y="465736"/>
                        <a:pt x="1309158" y="465736"/>
                        <a:pt x="602798" y="465736"/>
                      </a:cubicBezTo>
                      <a:cubicBezTo>
                        <a:pt x="595656" y="465736"/>
                        <a:pt x="589943" y="470015"/>
                        <a:pt x="587800" y="475721"/>
                      </a:cubicBezTo>
                      <a:cubicBezTo>
                        <a:pt x="567088" y="531353"/>
                        <a:pt x="532805" y="581278"/>
                        <a:pt x="490667" y="617653"/>
                      </a:cubicBezTo>
                      <a:cubicBezTo>
                        <a:pt x="437100" y="664726"/>
                        <a:pt x="372821" y="688975"/>
                        <a:pt x="304970" y="688975"/>
                      </a:cubicBezTo>
                      <a:cubicBezTo>
                        <a:pt x="137130" y="688975"/>
                        <a:pt x="0" y="534919"/>
                        <a:pt x="0" y="344488"/>
                      </a:cubicBezTo>
                      <a:cubicBezTo>
                        <a:pt x="0" y="154770"/>
                        <a:pt x="137130" y="0"/>
                        <a:pt x="30497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8" name="Freeform 11">
                  <a:extLst>
                    <a:ext uri="{FF2B5EF4-FFF2-40B4-BE49-F238E27FC236}">
                      <a16:creationId xmlns:a16="http://schemas.microsoft.com/office/drawing/2014/main" id="{43F712A5-4880-406B-545E-63ED8DBB85E9}"/>
                    </a:ext>
                  </a:extLst>
                </p:cNvPr>
                <p:cNvSpPr>
                  <a:spLocks noChangeArrowheads="1"/>
                </p:cNvSpPr>
                <p:nvPr/>
              </p:nvSpPr>
              <p:spPr bwMode="auto">
                <a:xfrm>
                  <a:off x="5459412" y="3146425"/>
                  <a:ext cx="1271588" cy="565150"/>
                </a:xfrm>
                <a:custGeom>
                  <a:avLst/>
                  <a:gdLst>
                    <a:gd name="connsiteX0" fmla="*/ 101600 w 1271588"/>
                    <a:gd name="connsiteY0" fmla="*/ 225425 h 565150"/>
                    <a:gd name="connsiteX1" fmla="*/ 41275 w 1271588"/>
                    <a:gd name="connsiteY1" fmla="*/ 285750 h 565150"/>
                    <a:gd name="connsiteX2" fmla="*/ 101600 w 1271588"/>
                    <a:gd name="connsiteY2" fmla="*/ 346075 h 565150"/>
                    <a:gd name="connsiteX3" fmla="*/ 161925 w 1271588"/>
                    <a:gd name="connsiteY3" fmla="*/ 285750 h 565150"/>
                    <a:gd name="connsiteX4" fmla="*/ 101600 w 1271588"/>
                    <a:gd name="connsiteY4" fmla="*/ 225425 h 565150"/>
                    <a:gd name="connsiteX5" fmla="*/ 512763 w 1271588"/>
                    <a:gd name="connsiteY5" fmla="*/ 217488 h 565150"/>
                    <a:gd name="connsiteX6" fmla="*/ 640543 w 1271588"/>
                    <a:gd name="connsiteY6" fmla="*/ 217488 h 565150"/>
                    <a:gd name="connsiteX7" fmla="*/ 691940 w 1271588"/>
                    <a:gd name="connsiteY7" fmla="*/ 281190 h 565150"/>
                    <a:gd name="connsiteX8" fmla="*/ 818292 w 1271588"/>
                    <a:gd name="connsiteY8" fmla="*/ 281190 h 565150"/>
                    <a:gd name="connsiteX9" fmla="*/ 869689 w 1271588"/>
                    <a:gd name="connsiteY9" fmla="*/ 243971 h 565150"/>
                    <a:gd name="connsiteX10" fmla="*/ 928225 w 1271588"/>
                    <a:gd name="connsiteY10" fmla="*/ 243971 h 565150"/>
                    <a:gd name="connsiteX11" fmla="*/ 956779 w 1271588"/>
                    <a:gd name="connsiteY11" fmla="*/ 286916 h 565150"/>
                    <a:gd name="connsiteX12" fmla="*/ 1107402 w 1271588"/>
                    <a:gd name="connsiteY12" fmla="*/ 286916 h 565150"/>
                    <a:gd name="connsiteX13" fmla="*/ 1180215 w 1271588"/>
                    <a:gd name="connsiteY13" fmla="*/ 241108 h 565150"/>
                    <a:gd name="connsiteX14" fmla="*/ 1271588 w 1271588"/>
                    <a:gd name="connsiteY14" fmla="*/ 301231 h 565150"/>
                    <a:gd name="connsiteX15" fmla="*/ 1230185 w 1271588"/>
                    <a:gd name="connsiteY15" fmla="*/ 341313 h 565150"/>
                    <a:gd name="connsiteX16" fmla="*/ 513477 w 1271588"/>
                    <a:gd name="connsiteY16" fmla="*/ 341313 h 565150"/>
                    <a:gd name="connsiteX17" fmla="*/ 518474 w 1271588"/>
                    <a:gd name="connsiteY17" fmla="*/ 282622 h 565150"/>
                    <a:gd name="connsiteX18" fmla="*/ 512763 w 1271588"/>
                    <a:gd name="connsiteY18" fmla="*/ 217488 h 565150"/>
                    <a:gd name="connsiteX19" fmla="*/ 243682 w 1271588"/>
                    <a:gd name="connsiteY19" fmla="*/ 0 h 565150"/>
                    <a:gd name="connsiteX20" fmla="*/ 487364 w 1271588"/>
                    <a:gd name="connsiteY20" fmla="*/ 282575 h 565150"/>
                    <a:gd name="connsiteX21" fmla="*/ 243682 w 1271588"/>
                    <a:gd name="connsiteY21" fmla="*/ 565150 h 565150"/>
                    <a:gd name="connsiteX22" fmla="*/ 0 w 1271588"/>
                    <a:gd name="connsiteY22" fmla="*/ 282575 h 565150"/>
                    <a:gd name="connsiteX23" fmla="*/ 243682 w 1271588"/>
                    <a:gd name="connsiteY23" fmla="*/ 0 h 5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1588" h="565150">
                      <a:moveTo>
                        <a:pt x="101600" y="225425"/>
                      </a:moveTo>
                      <a:cubicBezTo>
                        <a:pt x="68283" y="225425"/>
                        <a:pt x="41275" y="252433"/>
                        <a:pt x="41275" y="285750"/>
                      </a:cubicBezTo>
                      <a:cubicBezTo>
                        <a:pt x="41275" y="319067"/>
                        <a:pt x="68283" y="346075"/>
                        <a:pt x="101600" y="346075"/>
                      </a:cubicBezTo>
                      <a:cubicBezTo>
                        <a:pt x="134917" y="346075"/>
                        <a:pt x="161925" y="319067"/>
                        <a:pt x="161925" y="285750"/>
                      </a:cubicBezTo>
                      <a:cubicBezTo>
                        <a:pt x="161925" y="252433"/>
                        <a:pt x="134917" y="225425"/>
                        <a:pt x="101600" y="225425"/>
                      </a:cubicBezTo>
                      <a:close/>
                      <a:moveTo>
                        <a:pt x="512763" y="217488"/>
                      </a:moveTo>
                      <a:cubicBezTo>
                        <a:pt x="512763" y="217488"/>
                        <a:pt x="512763" y="217488"/>
                        <a:pt x="640543" y="217488"/>
                      </a:cubicBezTo>
                      <a:cubicBezTo>
                        <a:pt x="640543" y="217488"/>
                        <a:pt x="640543" y="217488"/>
                        <a:pt x="691940" y="281190"/>
                      </a:cubicBezTo>
                      <a:cubicBezTo>
                        <a:pt x="691940" y="281190"/>
                        <a:pt x="691940" y="281190"/>
                        <a:pt x="818292" y="281190"/>
                      </a:cubicBezTo>
                      <a:cubicBezTo>
                        <a:pt x="818292" y="281190"/>
                        <a:pt x="818292" y="281190"/>
                        <a:pt x="869689" y="243971"/>
                      </a:cubicBezTo>
                      <a:cubicBezTo>
                        <a:pt x="869689" y="243971"/>
                        <a:pt x="869689" y="243971"/>
                        <a:pt x="928225" y="243971"/>
                      </a:cubicBezTo>
                      <a:cubicBezTo>
                        <a:pt x="928225" y="243971"/>
                        <a:pt x="928225" y="243971"/>
                        <a:pt x="956779" y="286916"/>
                      </a:cubicBezTo>
                      <a:cubicBezTo>
                        <a:pt x="956779" y="286916"/>
                        <a:pt x="956779" y="286916"/>
                        <a:pt x="1107402" y="286916"/>
                      </a:cubicBezTo>
                      <a:cubicBezTo>
                        <a:pt x="1107402" y="286916"/>
                        <a:pt x="1107402" y="286916"/>
                        <a:pt x="1180215" y="241108"/>
                      </a:cubicBezTo>
                      <a:cubicBezTo>
                        <a:pt x="1180215" y="241108"/>
                        <a:pt x="1180215" y="241108"/>
                        <a:pt x="1271588" y="301231"/>
                      </a:cubicBezTo>
                      <a:cubicBezTo>
                        <a:pt x="1271588" y="301231"/>
                        <a:pt x="1271588" y="301231"/>
                        <a:pt x="1230185" y="341313"/>
                      </a:cubicBezTo>
                      <a:cubicBezTo>
                        <a:pt x="1230185" y="341313"/>
                        <a:pt x="1230185" y="341313"/>
                        <a:pt x="513477" y="341313"/>
                      </a:cubicBezTo>
                      <a:cubicBezTo>
                        <a:pt x="517046" y="321988"/>
                        <a:pt x="518474" y="302663"/>
                        <a:pt x="518474" y="282622"/>
                      </a:cubicBezTo>
                      <a:cubicBezTo>
                        <a:pt x="518474" y="260433"/>
                        <a:pt x="516333" y="238961"/>
                        <a:pt x="512763" y="217488"/>
                      </a:cubicBezTo>
                      <a:close/>
                      <a:moveTo>
                        <a:pt x="243682" y="0"/>
                      </a:moveTo>
                      <a:cubicBezTo>
                        <a:pt x="378264" y="0"/>
                        <a:pt x="487364" y="126513"/>
                        <a:pt x="487364" y="282575"/>
                      </a:cubicBezTo>
                      <a:cubicBezTo>
                        <a:pt x="487364" y="438637"/>
                        <a:pt x="378264" y="565150"/>
                        <a:pt x="243682" y="565150"/>
                      </a:cubicBezTo>
                      <a:cubicBezTo>
                        <a:pt x="109100" y="565150"/>
                        <a:pt x="0" y="438637"/>
                        <a:pt x="0" y="282575"/>
                      </a:cubicBezTo>
                      <a:cubicBezTo>
                        <a:pt x="0" y="126513"/>
                        <a:pt x="109100" y="0"/>
                        <a:pt x="24368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grpSp>
        <p:nvGrpSpPr>
          <p:cNvPr id="29" name="Group 28">
            <a:extLst>
              <a:ext uri="{FF2B5EF4-FFF2-40B4-BE49-F238E27FC236}">
                <a16:creationId xmlns:a16="http://schemas.microsoft.com/office/drawing/2014/main" id="{B990DEF6-0F40-78F8-65BA-98C465EA2A86}"/>
              </a:ext>
            </a:extLst>
          </p:cNvPr>
          <p:cNvGrpSpPr/>
          <p:nvPr/>
        </p:nvGrpSpPr>
        <p:grpSpPr>
          <a:xfrm>
            <a:off x="761586" y="1600498"/>
            <a:ext cx="442401" cy="442401"/>
            <a:chOff x="761586" y="1600498"/>
            <a:chExt cx="442401" cy="442401"/>
          </a:xfrm>
        </p:grpSpPr>
        <p:sp>
          <p:nvSpPr>
            <p:cNvPr id="30" name="Oval 29">
              <a:extLst>
                <a:ext uri="{FF2B5EF4-FFF2-40B4-BE49-F238E27FC236}">
                  <a16:creationId xmlns:a16="http://schemas.microsoft.com/office/drawing/2014/main" id="{B6E54529-4A34-3529-E566-CC47056A7831}"/>
                </a:ext>
              </a:extLst>
            </p:cNvPr>
            <p:cNvSpPr/>
            <p:nvPr>
              <p:custDataLst>
                <p:tags r:id="rId2"/>
              </p:custDataLst>
            </p:nvPr>
          </p:nvSpPr>
          <p:spPr>
            <a:xfrm>
              <a:off x="761586" y="1600498"/>
              <a:ext cx="442401" cy="442401"/>
            </a:xfrm>
            <a:prstGeom prst="ellipse">
              <a:avLst/>
            </a:prstGeom>
            <a:solidFill>
              <a:srgbClr val="FFFFFF"/>
            </a:solidFill>
            <a:ln w="19050" cap="flat" cmpd="sng" algn="ctr">
              <a:gradFill flip="none" rotWithShape="1">
                <a:gsLst>
                  <a:gs pos="100000">
                    <a:srgbClr val="0DA3E2"/>
                  </a:gs>
                  <a:gs pos="0">
                    <a:srgbClr val="05455F"/>
                  </a:gs>
                </a:gsLst>
                <a:lin ang="13500000" scaled="1"/>
                <a:tileRect/>
              </a:gradFill>
              <a:prstDash val="solid"/>
              <a:miter lim="800000"/>
              <a:headEnd type="none" w="med" len="med"/>
              <a:tailEnd type="none" w="med" len="med"/>
            </a:ln>
            <a:effectLst/>
          </p:spPr>
          <p:txBody>
            <a:bodyPr lIns="0" tIns="0" rIns="0" bIns="0" rtlCol="0" anchor="ctr"/>
            <a:lstStyle/>
            <a:p>
              <a:pPr algn="ctr"/>
              <a:endParaRPr lang="en-US" kern="0">
                <a:solidFill>
                  <a:srgbClr val="333333"/>
                </a:solidFill>
              </a:endParaRPr>
            </a:p>
          </p:txBody>
        </p:sp>
        <p:grpSp>
          <p:nvGrpSpPr>
            <p:cNvPr id="31" name="bcgIcons_Complicated structure ">
              <a:extLst>
                <a:ext uri="{FF2B5EF4-FFF2-40B4-BE49-F238E27FC236}">
                  <a16:creationId xmlns:a16="http://schemas.microsoft.com/office/drawing/2014/main" id="{D740E810-4D70-6436-CAF6-A5C3179F0091}"/>
                </a:ext>
              </a:extLst>
            </p:cNvPr>
            <p:cNvGrpSpPr>
              <a:grpSpLocks noChangeAspect="1"/>
            </p:cNvGrpSpPr>
            <p:nvPr/>
          </p:nvGrpSpPr>
          <p:grpSpPr>
            <a:xfrm>
              <a:off x="826374" y="1665286"/>
              <a:ext cx="312825" cy="312825"/>
              <a:chOff x="5306396" y="2606040"/>
              <a:chExt cx="1645920" cy="1645920"/>
            </a:xfrm>
          </p:grpSpPr>
          <p:sp>
            <p:nvSpPr>
              <p:cNvPr id="32" name="AutoShape 3">
                <a:extLst>
                  <a:ext uri="{FF2B5EF4-FFF2-40B4-BE49-F238E27FC236}">
                    <a16:creationId xmlns:a16="http://schemas.microsoft.com/office/drawing/2014/main" id="{0F86C9D2-EEA2-3594-F47F-0CA499819B10}"/>
                  </a:ext>
                </a:extLst>
              </p:cNvPr>
              <p:cNvSpPr>
                <a:spLocks noChangeAspect="1" noChangeArrowheads="1" noTextEdit="1"/>
              </p:cNvSpPr>
              <p:nvPr/>
            </p:nvSpPr>
            <p:spPr bwMode="auto">
              <a:xfrm>
                <a:off x="5306396"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3" name="Group 32">
                <a:extLst>
                  <a:ext uri="{FF2B5EF4-FFF2-40B4-BE49-F238E27FC236}">
                    <a16:creationId xmlns:a16="http://schemas.microsoft.com/office/drawing/2014/main" id="{4A102204-9BB8-4AB0-883E-A091626D0AEE}"/>
                  </a:ext>
                </a:extLst>
              </p:cNvPr>
              <p:cNvGrpSpPr/>
              <p:nvPr/>
            </p:nvGrpSpPr>
            <p:grpSpPr>
              <a:xfrm>
                <a:off x="5339752" y="2654912"/>
                <a:ext cx="1579208" cy="1548175"/>
                <a:chOff x="5306396" y="2654912"/>
                <a:chExt cx="1579208" cy="1548175"/>
              </a:xfrm>
            </p:grpSpPr>
            <p:sp>
              <p:nvSpPr>
                <p:cNvPr id="34" name="Freeform 11">
                  <a:extLst>
                    <a:ext uri="{FF2B5EF4-FFF2-40B4-BE49-F238E27FC236}">
                      <a16:creationId xmlns:a16="http://schemas.microsoft.com/office/drawing/2014/main" id="{5D8C5453-6F74-FBA0-E522-A03B2026C455}"/>
                    </a:ext>
                  </a:extLst>
                </p:cNvPr>
                <p:cNvSpPr>
                  <a:spLocks/>
                </p:cNvSpPr>
                <p:nvPr/>
              </p:nvSpPr>
              <p:spPr bwMode="auto">
                <a:xfrm>
                  <a:off x="5333197" y="2678560"/>
                  <a:ext cx="1516644" cy="1497725"/>
                </a:xfrm>
                <a:custGeom>
                  <a:avLst/>
                  <a:gdLst>
                    <a:gd name="connsiteX0" fmla="*/ 1204823 w 1516644"/>
                    <a:gd name="connsiteY0" fmla="*/ 1308538 h 1497725"/>
                    <a:gd name="connsiteX1" fmla="*/ 1215522 w 1516644"/>
                    <a:gd name="connsiteY1" fmla="*/ 1338636 h 1497725"/>
                    <a:gd name="connsiteX2" fmla="*/ 826790 w 1516644"/>
                    <a:gd name="connsiteY2" fmla="*/ 1497725 h 1497725"/>
                    <a:gd name="connsiteX3" fmla="*/ 818231 w 1516644"/>
                    <a:gd name="connsiteY3" fmla="*/ 1466911 h 1497725"/>
                    <a:gd name="connsiteX4" fmla="*/ 754698 w 1516644"/>
                    <a:gd name="connsiteY4" fmla="*/ 1305386 h 1497725"/>
                    <a:gd name="connsiteX5" fmla="*/ 770935 w 1516644"/>
                    <a:gd name="connsiteY5" fmla="*/ 1435810 h 1497725"/>
                    <a:gd name="connsiteX6" fmla="*/ 763170 w 1516644"/>
                    <a:gd name="connsiteY6" fmla="*/ 1435093 h 1497725"/>
                    <a:gd name="connsiteX7" fmla="*/ 739874 w 1516644"/>
                    <a:gd name="connsiteY7" fmla="*/ 1439393 h 1497725"/>
                    <a:gd name="connsiteX8" fmla="*/ 723638 w 1516644"/>
                    <a:gd name="connsiteY8" fmla="*/ 1307536 h 1497725"/>
                    <a:gd name="connsiteX9" fmla="*/ 732109 w 1516644"/>
                    <a:gd name="connsiteY9" fmla="*/ 1307536 h 1497725"/>
                    <a:gd name="connsiteX10" fmla="*/ 754698 w 1516644"/>
                    <a:gd name="connsiteY10" fmla="*/ 1305386 h 1497725"/>
                    <a:gd name="connsiteX11" fmla="*/ 232705 w 1516644"/>
                    <a:gd name="connsiteY11" fmla="*/ 1221828 h 1497725"/>
                    <a:gd name="connsiteX12" fmla="*/ 711026 w 1516644"/>
                    <a:gd name="connsiteY12" fmla="*/ 1460617 h 1497725"/>
                    <a:gd name="connsiteX13" fmla="*/ 699603 w 1516644"/>
                    <a:gd name="connsiteY13" fmla="*/ 1489842 h 1497725"/>
                    <a:gd name="connsiteX14" fmla="*/ 219141 w 1516644"/>
                    <a:gd name="connsiteY14" fmla="*/ 1250340 h 1497725"/>
                    <a:gd name="connsiteX15" fmla="*/ 232705 w 1516644"/>
                    <a:gd name="connsiteY15" fmla="*/ 1221828 h 1497725"/>
                    <a:gd name="connsiteX16" fmla="*/ 836273 w 1516644"/>
                    <a:gd name="connsiteY16" fmla="*/ 1215522 h 1497725"/>
                    <a:gd name="connsiteX17" fmla="*/ 1213946 w 1516644"/>
                    <a:gd name="connsiteY17" fmla="*/ 1271670 h 1497725"/>
                    <a:gd name="connsiteX18" fmla="*/ 1205363 w 1516644"/>
                    <a:gd name="connsiteY18" fmla="*/ 1302232 h 1497725"/>
                    <a:gd name="connsiteX19" fmla="*/ 827690 w 1516644"/>
                    <a:gd name="connsiteY19" fmla="*/ 1246084 h 1497725"/>
                    <a:gd name="connsiteX20" fmla="*/ 836273 w 1516644"/>
                    <a:gd name="connsiteY20" fmla="*/ 1215522 h 1497725"/>
                    <a:gd name="connsiteX21" fmla="*/ 611424 w 1516644"/>
                    <a:gd name="connsiteY21" fmla="*/ 1120928 h 1497725"/>
                    <a:gd name="connsiteX22" fmla="*/ 644810 w 1516644"/>
                    <a:gd name="connsiteY22" fmla="*/ 1142723 h 1497725"/>
                    <a:gd name="connsiteX23" fmla="*/ 630203 w 1516644"/>
                    <a:gd name="connsiteY23" fmla="*/ 1172955 h 1497725"/>
                    <a:gd name="connsiteX24" fmla="*/ 597513 w 1516644"/>
                    <a:gd name="connsiteY24" fmla="*/ 1152566 h 1497725"/>
                    <a:gd name="connsiteX25" fmla="*/ 611424 w 1516644"/>
                    <a:gd name="connsiteY25" fmla="*/ 1120928 h 1497725"/>
                    <a:gd name="connsiteX26" fmla="*/ 484598 w 1516644"/>
                    <a:gd name="connsiteY26" fmla="*/ 1113046 h 1497725"/>
                    <a:gd name="connsiteX27" fmla="*/ 493179 w 1516644"/>
                    <a:gd name="connsiteY27" fmla="*/ 1143744 h 1497725"/>
                    <a:gd name="connsiteX28" fmla="*/ 435973 w 1516644"/>
                    <a:gd name="connsiteY28" fmla="*/ 1155167 h 1497725"/>
                    <a:gd name="connsiteX29" fmla="*/ 285091 w 1516644"/>
                    <a:gd name="connsiteY29" fmla="*/ 1185151 h 1497725"/>
                    <a:gd name="connsiteX30" fmla="*/ 560396 w 1516644"/>
                    <a:gd name="connsiteY30" fmla="*/ 1193004 h 1497725"/>
                    <a:gd name="connsiteX31" fmla="*/ 626899 w 1516644"/>
                    <a:gd name="connsiteY31" fmla="*/ 1195146 h 1497725"/>
                    <a:gd name="connsiteX32" fmla="*/ 626183 w 1516644"/>
                    <a:gd name="connsiteY32" fmla="*/ 1202285 h 1497725"/>
                    <a:gd name="connsiteX33" fmla="*/ 629044 w 1516644"/>
                    <a:gd name="connsiteY33" fmla="*/ 1226558 h 1497725"/>
                    <a:gd name="connsiteX34" fmla="*/ 234320 w 1516644"/>
                    <a:gd name="connsiteY34" fmla="*/ 1214422 h 1497725"/>
                    <a:gd name="connsiteX35" fmla="*/ 235751 w 1516644"/>
                    <a:gd name="connsiteY35" fmla="*/ 1198716 h 1497725"/>
                    <a:gd name="connsiteX36" fmla="*/ 228600 w 1516644"/>
                    <a:gd name="connsiteY36" fmla="*/ 1164448 h 1497725"/>
                    <a:gd name="connsiteX37" fmla="*/ 484598 w 1516644"/>
                    <a:gd name="connsiteY37" fmla="*/ 1113046 h 1497725"/>
                    <a:gd name="connsiteX38" fmla="*/ 1398975 w 1516644"/>
                    <a:gd name="connsiteY38" fmla="*/ 1102010 h 1497725"/>
                    <a:gd name="connsiteX39" fmla="*/ 1420473 w 1516644"/>
                    <a:gd name="connsiteY39" fmla="*/ 1125721 h 1497725"/>
                    <a:gd name="connsiteX40" fmla="*/ 1318714 w 1516644"/>
                    <a:gd name="connsiteY40" fmla="*/ 1264395 h 1497725"/>
                    <a:gd name="connsiteX41" fmla="*/ 1294349 w 1516644"/>
                    <a:gd name="connsiteY41" fmla="*/ 1244995 h 1497725"/>
                    <a:gd name="connsiteX42" fmla="*/ 1398975 w 1516644"/>
                    <a:gd name="connsiteY42" fmla="*/ 1102010 h 1497725"/>
                    <a:gd name="connsiteX43" fmla="*/ 1391827 w 1516644"/>
                    <a:gd name="connsiteY43" fmla="*/ 1067326 h 1497725"/>
                    <a:gd name="connsiteX44" fmla="*/ 1391827 w 1516644"/>
                    <a:gd name="connsiteY44" fmla="*/ 1073743 h 1497725"/>
                    <a:gd name="connsiteX45" fmla="*/ 1396827 w 1516644"/>
                    <a:gd name="connsiteY45" fmla="*/ 1098699 h 1497725"/>
                    <a:gd name="connsiteX46" fmla="*/ 836854 w 1516644"/>
                    <a:gd name="connsiteY46" fmla="*/ 1209216 h 1497725"/>
                    <a:gd name="connsiteX47" fmla="*/ 837568 w 1516644"/>
                    <a:gd name="connsiteY47" fmla="*/ 1202799 h 1497725"/>
                    <a:gd name="connsiteX48" fmla="*/ 833997 w 1516644"/>
                    <a:gd name="connsiteY48" fmla="*/ 1177843 h 1497725"/>
                    <a:gd name="connsiteX49" fmla="*/ 1391827 w 1516644"/>
                    <a:gd name="connsiteY49" fmla="*/ 1067326 h 1497725"/>
                    <a:gd name="connsiteX50" fmla="*/ 1282680 w 1516644"/>
                    <a:gd name="connsiteY50" fmla="*/ 889176 h 1497725"/>
                    <a:gd name="connsiteX51" fmla="*/ 1323413 w 1516644"/>
                    <a:gd name="connsiteY51" fmla="*/ 931382 h 1497725"/>
                    <a:gd name="connsiteX52" fmla="*/ 1414168 w 1516644"/>
                    <a:gd name="connsiteY52" fmla="*/ 1025808 h 1497725"/>
                    <a:gd name="connsiteX53" fmla="*/ 1395588 w 1516644"/>
                    <a:gd name="connsiteY53" fmla="*/ 1051561 h 1497725"/>
                    <a:gd name="connsiteX54" fmla="*/ 1379152 w 1516644"/>
                    <a:gd name="connsiteY54" fmla="*/ 1034393 h 1497725"/>
                    <a:gd name="connsiteX55" fmla="*/ 1261242 w 1516644"/>
                    <a:gd name="connsiteY55" fmla="*/ 912067 h 1497725"/>
                    <a:gd name="connsiteX56" fmla="*/ 1282680 w 1516644"/>
                    <a:gd name="connsiteY56" fmla="*/ 889176 h 1497725"/>
                    <a:gd name="connsiteX57" fmla="*/ 1129929 w 1516644"/>
                    <a:gd name="connsiteY57" fmla="*/ 876563 h 1497725"/>
                    <a:gd name="connsiteX58" fmla="*/ 1147731 w 1516644"/>
                    <a:gd name="connsiteY58" fmla="*/ 903051 h 1497725"/>
                    <a:gd name="connsiteX59" fmla="*/ 826574 w 1516644"/>
                    <a:gd name="connsiteY59" fmla="*/ 1157189 h 1497725"/>
                    <a:gd name="connsiteX60" fmla="*/ 808772 w 1516644"/>
                    <a:gd name="connsiteY60" fmla="*/ 1130701 h 1497725"/>
                    <a:gd name="connsiteX61" fmla="*/ 1129929 w 1516644"/>
                    <a:gd name="connsiteY61" fmla="*/ 876563 h 1497725"/>
                    <a:gd name="connsiteX62" fmla="*/ 33922 w 1516644"/>
                    <a:gd name="connsiteY62" fmla="*/ 793005 h 1497725"/>
                    <a:gd name="connsiteX63" fmla="*/ 137161 w 1516644"/>
                    <a:gd name="connsiteY63" fmla="*/ 1114069 h 1497725"/>
                    <a:gd name="connsiteX64" fmla="*/ 107257 w 1516644"/>
                    <a:gd name="connsiteY64" fmla="*/ 1124080 h 1497725"/>
                    <a:gd name="connsiteX65" fmla="*/ 4730 w 1516644"/>
                    <a:gd name="connsiteY65" fmla="*/ 805161 h 1497725"/>
                    <a:gd name="connsiteX66" fmla="*/ 33922 w 1516644"/>
                    <a:gd name="connsiteY66" fmla="*/ 793005 h 1497725"/>
                    <a:gd name="connsiteX67" fmla="*/ 1486759 w 1516644"/>
                    <a:gd name="connsiteY67" fmla="*/ 774087 h 1497725"/>
                    <a:gd name="connsiteX68" fmla="*/ 1516644 w 1516644"/>
                    <a:gd name="connsiteY68" fmla="*/ 784096 h 1497725"/>
                    <a:gd name="connsiteX69" fmla="*/ 1468259 w 1516644"/>
                    <a:gd name="connsiteY69" fmla="*/ 1010717 h 1497725"/>
                    <a:gd name="connsiteX70" fmla="*/ 1455451 w 1516644"/>
                    <a:gd name="connsiteY70" fmla="*/ 1009288 h 1497725"/>
                    <a:gd name="connsiteX71" fmla="*/ 1436239 w 1516644"/>
                    <a:gd name="connsiteY71" fmla="*/ 1012147 h 1497725"/>
                    <a:gd name="connsiteX72" fmla="*/ 1486759 w 1516644"/>
                    <a:gd name="connsiteY72" fmla="*/ 774087 h 1497725"/>
                    <a:gd name="connsiteX73" fmla="*/ 52851 w 1516644"/>
                    <a:gd name="connsiteY73" fmla="*/ 759899 h 1497725"/>
                    <a:gd name="connsiteX74" fmla="*/ 513957 w 1516644"/>
                    <a:gd name="connsiteY74" fmla="*/ 1058201 h 1497725"/>
                    <a:gd name="connsiteX75" fmla="*/ 490365 w 1516644"/>
                    <a:gd name="connsiteY75" fmla="*/ 1084669 h 1497725"/>
                    <a:gd name="connsiteX76" fmla="*/ 37838 w 1516644"/>
                    <a:gd name="connsiteY76" fmla="*/ 787798 h 1497725"/>
                    <a:gd name="connsiteX77" fmla="*/ 52851 w 1516644"/>
                    <a:gd name="connsiteY77" fmla="*/ 759899 h 1497725"/>
                    <a:gd name="connsiteX78" fmla="*/ 1458598 w 1516644"/>
                    <a:gd name="connsiteY78" fmla="*/ 728368 h 1497725"/>
                    <a:gd name="connsiteX79" fmla="*/ 1469347 w 1516644"/>
                    <a:gd name="connsiteY79" fmla="*/ 757704 h 1497725"/>
                    <a:gd name="connsiteX80" fmla="*/ 1293059 w 1516644"/>
                    <a:gd name="connsiteY80" fmla="*/ 821385 h 1497725"/>
                    <a:gd name="connsiteX81" fmla="*/ 1280160 w 1516644"/>
                    <a:gd name="connsiteY81" fmla="*/ 792765 h 1497725"/>
                    <a:gd name="connsiteX82" fmla="*/ 1458598 w 1516644"/>
                    <a:gd name="connsiteY82" fmla="*/ 728368 h 1497725"/>
                    <a:gd name="connsiteX83" fmla="*/ 551912 w 1516644"/>
                    <a:gd name="connsiteY83" fmla="*/ 698412 h 1497725"/>
                    <a:gd name="connsiteX84" fmla="*/ 628529 w 1516644"/>
                    <a:gd name="connsiteY84" fmla="*/ 904018 h 1497725"/>
                    <a:gd name="connsiteX85" fmla="*/ 701565 w 1516644"/>
                    <a:gd name="connsiteY85" fmla="*/ 1101772 h 1497725"/>
                    <a:gd name="connsiteX86" fmla="*/ 672923 w 1516644"/>
                    <a:gd name="connsiteY86" fmla="*/ 1114622 h 1497725"/>
                    <a:gd name="connsiteX87" fmla="*/ 521839 w 1516644"/>
                    <a:gd name="connsiteY87" fmla="*/ 708407 h 1497725"/>
                    <a:gd name="connsiteX88" fmla="*/ 551912 w 1516644"/>
                    <a:gd name="connsiteY88" fmla="*/ 698412 h 1497725"/>
                    <a:gd name="connsiteX89" fmla="*/ 580726 w 1516644"/>
                    <a:gd name="connsiteY89" fmla="*/ 649540 h 1497725"/>
                    <a:gd name="connsiteX90" fmla="*/ 1135117 w 1516644"/>
                    <a:gd name="connsiteY90" fmla="*/ 799313 h 1497725"/>
                    <a:gd name="connsiteX91" fmla="*/ 1124387 w 1516644"/>
                    <a:gd name="connsiteY91" fmla="*/ 830844 h 1497725"/>
                    <a:gd name="connsiteX92" fmla="*/ 570711 w 1516644"/>
                    <a:gd name="connsiteY92" fmla="*/ 679638 h 1497725"/>
                    <a:gd name="connsiteX93" fmla="*/ 580726 w 1516644"/>
                    <a:gd name="connsiteY93" fmla="*/ 649540 h 1497725"/>
                    <a:gd name="connsiteX94" fmla="*/ 454766 w 1516644"/>
                    <a:gd name="connsiteY94" fmla="*/ 644810 h 1497725"/>
                    <a:gd name="connsiteX95" fmla="*/ 454766 w 1516644"/>
                    <a:gd name="connsiteY95" fmla="*/ 645519 h 1497725"/>
                    <a:gd name="connsiteX96" fmla="*/ 461930 w 1516644"/>
                    <a:gd name="connsiteY96" fmla="*/ 674585 h 1497725"/>
                    <a:gd name="connsiteX97" fmla="*/ 53600 w 1516644"/>
                    <a:gd name="connsiteY97" fmla="*/ 750440 h 1497725"/>
                    <a:gd name="connsiteX98" fmla="*/ 53600 w 1516644"/>
                    <a:gd name="connsiteY98" fmla="*/ 749022 h 1497725"/>
                    <a:gd name="connsiteX99" fmla="*/ 45720 w 1516644"/>
                    <a:gd name="connsiteY99" fmla="*/ 720665 h 1497725"/>
                    <a:gd name="connsiteX100" fmla="*/ 454766 w 1516644"/>
                    <a:gd name="connsiteY100" fmla="*/ 644810 h 1497725"/>
                    <a:gd name="connsiteX101" fmla="*/ 79516 w 1516644"/>
                    <a:gd name="connsiteY101" fmla="*/ 424092 h 1497725"/>
                    <a:gd name="connsiteX102" fmla="*/ 107205 w 1516644"/>
                    <a:gd name="connsiteY102" fmla="*/ 438446 h 1497725"/>
                    <a:gd name="connsiteX103" fmla="*/ 29818 w 1516644"/>
                    <a:gd name="connsiteY103" fmla="*/ 704718 h 1497725"/>
                    <a:gd name="connsiteX104" fmla="*/ 0 w 1516644"/>
                    <a:gd name="connsiteY104" fmla="*/ 694670 h 1497725"/>
                    <a:gd name="connsiteX105" fmla="*/ 79516 w 1516644"/>
                    <a:gd name="connsiteY105" fmla="*/ 424092 h 1497725"/>
                    <a:gd name="connsiteX106" fmla="*/ 208506 w 1516644"/>
                    <a:gd name="connsiteY106" fmla="*/ 395715 h 1497725"/>
                    <a:gd name="connsiteX107" fmla="*/ 476120 w 1516644"/>
                    <a:gd name="connsiteY107" fmla="*/ 597037 h 1497725"/>
                    <a:gd name="connsiteX108" fmla="*/ 458231 w 1516644"/>
                    <a:gd name="connsiteY108" fmla="*/ 622738 h 1497725"/>
                    <a:gd name="connsiteX109" fmla="*/ 272190 w 1516644"/>
                    <a:gd name="connsiteY109" fmla="*/ 482812 h 1497725"/>
                    <a:gd name="connsiteX110" fmla="*/ 189187 w 1516644"/>
                    <a:gd name="connsiteY110" fmla="*/ 420702 h 1497725"/>
                    <a:gd name="connsiteX111" fmla="*/ 208506 w 1516644"/>
                    <a:gd name="connsiteY111" fmla="*/ 395715 h 1497725"/>
                    <a:gd name="connsiteX112" fmla="*/ 1322678 w 1516644"/>
                    <a:gd name="connsiteY112" fmla="*/ 383102 h 1497725"/>
                    <a:gd name="connsiteX113" fmla="*/ 1352682 w 1516644"/>
                    <a:gd name="connsiteY113" fmla="*/ 392369 h 1497725"/>
                    <a:gd name="connsiteX114" fmla="*/ 1246240 w 1516644"/>
                    <a:gd name="connsiteY114" fmla="*/ 763051 h 1497725"/>
                    <a:gd name="connsiteX115" fmla="*/ 1215521 w 1516644"/>
                    <a:gd name="connsiteY115" fmla="*/ 755923 h 1497725"/>
                    <a:gd name="connsiteX116" fmla="*/ 1322678 w 1516644"/>
                    <a:gd name="connsiteY116" fmla="*/ 383102 h 1497725"/>
                    <a:gd name="connsiteX117" fmla="*/ 1411158 w 1516644"/>
                    <a:gd name="connsiteY117" fmla="*/ 381526 h 1497725"/>
                    <a:gd name="connsiteX118" fmla="*/ 1507184 w 1516644"/>
                    <a:gd name="connsiteY118" fmla="*/ 659746 h 1497725"/>
                    <a:gd name="connsiteX119" fmla="*/ 1478520 w 1516644"/>
                    <a:gd name="connsiteY119" fmla="*/ 674765 h 1497725"/>
                    <a:gd name="connsiteX120" fmla="*/ 1381060 w 1516644"/>
                    <a:gd name="connsiteY120" fmla="*/ 391539 h 1497725"/>
                    <a:gd name="connsiteX121" fmla="*/ 1411158 w 1516644"/>
                    <a:gd name="connsiteY121" fmla="*/ 381526 h 1497725"/>
                    <a:gd name="connsiteX122" fmla="*/ 1011554 w 1516644"/>
                    <a:gd name="connsiteY122" fmla="*/ 316887 h 1497725"/>
                    <a:gd name="connsiteX123" fmla="*/ 1193450 w 1516644"/>
                    <a:gd name="connsiteY123" fmla="*/ 757939 h 1497725"/>
                    <a:gd name="connsiteX124" fmla="*/ 1164089 w 1516644"/>
                    <a:gd name="connsiteY124" fmla="*/ 769358 h 1497725"/>
                    <a:gd name="connsiteX125" fmla="*/ 1036618 w 1516644"/>
                    <a:gd name="connsiteY125" fmla="*/ 461050 h 1497725"/>
                    <a:gd name="connsiteX126" fmla="*/ 982192 w 1516644"/>
                    <a:gd name="connsiteY126" fmla="*/ 329020 h 1497725"/>
                    <a:gd name="connsiteX127" fmla="*/ 1011554 w 1516644"/>
                    <a:gd name="connsiteY127" fmla="*/ 316887 h 1497725"/>
                    <a:gd name="connsiteX128" fmla="*/ 883902 w 1516644"/>
                    <a:gd name="connsiteY128" fmla="*/ 279050 h 1497725"/>
                    <a:gd name="connsiteX129" fmla="*/ 901788 w 1516644"/>
                    <a:gd name="connsiteY129" fmla="*/ 305442 h 1497725"/>
                    <a:gd name="connsiteX130" fmla="*/ 574117 w 1516644"/>
                    <a:gd name="connsiteY130" fmla="*/ 616432 h 1497725"/>
                    <a:gd name="connsiteX131" fmla="*/ 553370 w 1516644"/>
                    <a:gd name="connsiteY131" fmla="*/ 592894 h 1497725"/>
                    <a:gd name="connsiteX132" fmla="*/ 883902 w 1516644"/>
                    <a:gd name="connsiteY132" fmla="*/ 279050 h 1497725"/>
                    <a:gd name="connsiteX133" fmla="*/ 501344 w 1516644"/>
                    <a:gd name="connsiteY133" fmla="*/ 277473 h 1497725"/>
                    <a:gd name="connsiteX134" fmla="*/ 520692 w 1516644"/>
                    <a:gd name="connsiteY134" fmla="*/ 280325 h 1497725"/>
                    <a:gd name="connsiteX135" fmla="*/ 532875 w 1516644"/>
                    <a:gd name="connsiteY135" fmla="*/ 278899 h 1497725"/>
                    <a:gd name="connsiteX136" fmla="*/ 532875 w 1516644"/>
                    <a:gd name="connsiteY136" fmla="*/ 583324 h 1497725"/>
                    <a:gd name="connsiteX137" fmla="*/ 517109 w 1516644"/>
                    <a:gd name="connsiteY137" fmla="*/ 581185 h 1497725"/>
                    <a:gd name="connsiteX138" fmla="*/ 501344 w 1516644"/>
                    <a:gd name="connsiteY138" fmla="*/ 583324 h 1497725"/>
                    <a:gd name="connsiteX139" fmla="*/ 501344 w 1516644"/>
                    <a:gd name="connsiteY139" fmla="*/ 277473 h 1497725"/>
                    <a:gd name="connsiteX140" fmla="*/ 1048408 w 1516644"/>
                    <a:gd name="connsiteY140" fmla="*/ 227024 h 1497725"/>
                    <a:gd name="connsiteX141" fmla="*/ 1275431 w 1516644"/>
                    <a:gd name="connsiteY141" fmla="*/ 263418 h 1497725"/>
                    <a:gd name="connsiteX142" fmla="*/ 1269026 w 1516644"/>
                    <a:gd name="connsiteY142" fmla="*/ 294816 h 1497725"/>
                    <a:gd name="connsiteX143" fmla="*/ 1049120 w 1516644"/>
                    <a:gd name="connsiteY143" fmla="*/ 259136 h 1497725"/>
                    <a:gd name="connsiteX144" fmla="*/ 1050543 w 1516644"/>
                    <a:gd name="connsiteY144" fmla="*/ 244864 h 1497725"/>
                    <a:gd name="connsiteX145" fmla="*/ 1048408 w 1516644"/>
                    <a:gd name="connsiteY145" fmla="*/ 227024 h 1497725"/>
                    <a:gd name="connsiteX146" fmla="*/ 552154 w 1516644"/>
                    <a:gd name="connsiteY146" fmla="*/ 61486 h 1497725"/>
                    <a:gd name="connsiteX147" fmla="*/ 581747 w 1516644"/>
                    <a:gd name="connsiteY147" fmla="*/ 72128 h 1497725"/>
                    <a:gd name="connsiteX148" fmla="*/ 576694 w 1516644"/>
                    <a:gd name="connsiteY148" fmla="*/ 89155 h 1497725"/>
                    <a:gd name="connsiteX149" fmla="*/ 552154 w 1516644"/>
                    <a:gd name="connsiteY149" fmla="*/ 160809 h 1497725"/>
                    <a:gd name="connsiteX150" fmla="*/ 521839 w 1516644"/>
                    <a:gd name="connsiteY150" fmla="*/ 153005 h 1497725"/>
                    <a:gd name="connsiteX151" fmla="*/ 552154 w 1516644"/>
                    <a:gd name="connsiteY151" fmla="*/ 61486 h 1497725"/>
                    <a:gd name="connsiteX152" fmla="*/ 1026661 w 1516644"/>
                    <a:gd name="connsiteY152" fmla="*/ 44144 h 1497725"/>
                    <a:gd name="connsiteX153" fmla="*/ 1297502 w 1516644"/>
                    <a:gd name="connsiteY153" fmla="*/ 229622 h 1497725"/>
                    <a:gd name="connsiteX154" fmla="*/ 1278971 w 1516644"/>
                    <a:gd name="connsiteY154" fmla="*/ 255403 h 1497725"/>
                    <a:gd name="connsiteX155" fmla="*/ 1007417 w 1516644"/>
                    <a:gd name="connsiteY155" fmla="*/ 69209 h 1497725"/>
                    <a:gd name="connsiteX156" fmla="*/ 1026661 w 1516644"/>
                    <a:gd name="connsiteY156" fmla="*/ 44144 h 1497725"/>
                    <a:gd name="connsiteX157" fmla="*/ 530014 w 1516644"/>
                    <a:gd name="connsiteY157" fmla="*/ 33107 h 1497725"/>
                    <a:gd name="connsiteX158" fmla="*/ 548639 w 1516644"/>
                    <a:gd name="connsiteY158" fmla="*/ 58129 h 1497725"/>
                    <a:gd name="connsiteX159" fmla="*/ 209812 w 1516644"/>
                    <a:gd name="connsiteY159" fmla="*/ 301196 h 1497725"/>
                    <a:gd name="connsiteX160" fmla="*/ 457664 w 1516644"/>
                    <a:gd name="connsiteY160" fmla="*/ 219697 h 1497725"/>
                    <a:gd name="connsiteX161" fmla="*/ 466976 w 1516644"/>
                    <a:gd name="connsiteY161" fmla="*/ 249723 h 1497725"/>
                    <a:gd name="connsiteX162" fmla="*/ 214826 w 1516644"/>
                    <a:gd name="connsiteY162" fmla="*/ 332652 h 1497725"/>
                    <a:gd name="connsiteX163" fmla="*/ 179726 w 1516644"/>
                    <a:gd name="connsiteY163" fmla="*/ 284039 h 1497725"/>
                    <a:gd name="connsiteX164" fmla="*/ 530014 w 1516644"/>
                    <a:gd name="connsiteY164" fmla="*/ 33107 h 1497725"/>
                    <a:gd name="connsiteX165" fmla="*/ 650512 w 1516644"/>
                    <a:gd name="connsiteY165" fmla="*/ 0 h 1497725"/>
                    <a:gd name="connsiteX166" fmla="*/ 905591 w 1516644"/>
                    <a:gd name="connsiteY166" fmla="*/ 5692 h 1497725"/>
                    <a:gd name="connsiteX167" fmla="*/ 904166 w 1516644"/>
                    <a:gd name="connsiteY167" fmla="*/ 18500 h 1497725"/>
                    <a:gd name="connsiteX168" fmla="*/ 919129 w 1516644"/>
                    <a:gd name="connsiteY168" fmla="*/ 59770 h 1497725"/>
                    <a:gd name="connsiteX169" fmla="*/ 589236 w 1516644"/>
                    <a:gd name="connsiteY169" fmla="*/ 202078 h 1497725"/>
                    <a:gd name="connsiteX170" fmla="*/ 882791 w 1516644"/>
                    <a:gd name="connsiteY170" fmla="*/ 210617 h 1497725"/>
                    <a:gd name="connsiteX171" fmla="*/ 876378 w 1516644"/>
                    <a:gd name="connsiteY171" fmla="*/ 241213 h 1497725"/>
                    <a:gd name="connsiteX172" fmla="*/ 582111 w 1516644"/>
                    <a:gd name="connsiteY172" fmla="*/ 233386 h 1497725"/>
                    <a:gd name="connsiteX173" fmla="*/ 584961 w 1516644"/>
                    <a:gd name="connsiteY173" fmla="*/ 216309 h 1497725"/>
                    <a:gd name="connsiteX174" fmla="*/ 570711 w 1516644"/>
                    <a:gd name="connsiteY174" fmla="*/ 176463 h 1497725"/>
                    <a:gd name="connsiteX175" fmla="*/ 894191 w 1516644"/>
                    <a:gd name="connsiteY175" fmla="*/ 36289 h 1497725"/>
                    <a:gd name="connsiteX176" fmla="*/ 647662 w 1516644"/>
                    <a:gd name="connsiteY176" fmla="*/ 31308 h 1497725"/>
                    <a:gd name="connsiteX177" fmla="*/ 651225 w 1516644"/>
                    <a:gd name="connsiteY177" fmla="*/ 8538 h 1497725"/>
                    <a:gd name="connsiteX178" fmla="*/ 650512 w 1516644"/>
                    <a:gd name="connsiteY178" fmla="*/ 0 h 149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1516644" h="1497725">
                      <a:moveTo>
                        <a:pt x="1204823" y="1308538"/>
                      </a:moveTo>
                      <a:cubicBezTo>
                        <a:pt x="1206250" y="1320004"/>
                        <a:pt x="1209816" y="1330037"/>
                        <a:pt x="1215522" y="1338636"/>
                      </a:cubicBezTo>
                      <a:cubicBezTo>
                        <a:pt x="1215522" y="1338636"/>
                        <a:pt x="1215522" y="1338636"/>
                        <a:pt x="826790" y="1497725"/>
                      </a:cubicBezTo>
                      <a:cubicBezTo>
                        <a:pt x="826790" y="1486259"/>
                        <a:pt x="823937" y="1476227"/>
                        <a:pt x="818231" y="1466911"/>
                      </a:cubicBezTo>
                      <a:close/>
                      <a:moveTo>
                        <a:pt x="754698" y="1305386"/>
                      </a:moveTo>
                      <a:cubicBezTo>
                        <a:pt x="754698" y="1305386"/>
                        <a:pt x="754698" y="1305386"/>
                        <a:pt x="770935" y="1435810"/>
                      </a:cubicBezTo>
                      <a:cubicBezTo>
                        <a:pt x="768111" y="1435810"/>
                        <a:pt x="765287" y="1435093"/>
                        <a:pt x="763170" y="1435093"/>
                      </a:cubicBezTo>
                      <a:cubicBezTo>
                        <a:pt x="754698" y="1435093"/>
                        <a:pt x="746933" y="1436527"/>
                        <a:pt x="739874" y="1439393"/>
                      </a:cubicBezTo>
                      <a:cubicBezTo>
                        <a:pt x="739874" y="1439393"/>
                        <a:pt x="739874" y="1439393"/>
                        <a:pt x="723638" y="1307536"/>
                      </a:cubicBezTo>
                      <a:cubicBezTo>
                        <a:pt x="726461" y="1307536"/>
                        <a:pt x="729285" y="1307536"/>
                        <a:pt x="732109" y="1307536"/>
                      </a:cubicBezTo>
                      <a:cubicBezTo>
                        <a:pt x="739874" y="1307536"/>
                        <a:pt x="746933" y="1306819"/>
                        <a:pt x="754698" y="1305386"/>
                      </a:cubicBezTo>
                      <a:close/>
                      <a:moveTo>
                        <a:pt x="232705" y="1221828"/>
                      </a:moveTo>
                      <a:cubicBezTo>
                        <a:pt x="232705" y="1221828"/>
                        <a:pt x="232705" y="1221828"/>
                        <a:pt x="711026" y="1460617"/>
                      </a:cubicBezTo>
                      <a:cubicBezTo>
                        <a:pt x="705314" y="1469171"/>
                        <a:pt x="701031" y="1479150"/>
                        <a:pt x="699603" y="1489842"/>
                      </a:cubicBezTo>
                      <a:cubicBezTo>
                        <a:pt x="699603" y="1489842"/>
                        <a:pt x="699603" y="1489842"/>
                        <a:pt x="219141" y="1250340"/>
                      </a:cubicBezTo>
                      <a:cubicBezTo>
                        <a:pt x="225566" y="1241787"/>
                        <a:pt x="229849" y="1232520"/>
                        <a:pt x="232705" y="1221828"/>
                      </a:cubicBezTo>
                      <a:close/>
                      <a:moveTo>
                        <a:pt x="836273" y="1215522"/>
                      </a:moveTo>
                      <a:cubicBezTo>
                        <a:pt x="836273" y="1215522"/>
                        <a:pt x="836273" y="1215522"/>
                        <a:pt x="1213946" y="1271670"/>
                      </a:cubicBezTo>
                      <a:cubicBezTo>
                        <a:pt x="1208224" y="1280910"/>
                        <a:pt x="1205363" y="1291571"/>
                        <a:pt x="1205363" y="1302232"/>
                      </a:cubicBezTo>
                      <a:cubicBezTo>
                        <a:pt x="1205363" y="1302232"/>
                        <a:pt x="1205363" y="1302232"/>
                        <a:pt x="827690" y="1246084"/>
                      </a:cubicBezTo>
                      <a:cubicBezTo>
                        <a:pt x="831981" y="1236134"/>
                        <a:pt x="834843" y="1226183"/>
                        <a:pt x="836273" y="1215522"/>
                      </a:cubicBezTo>
                      <a:close/>
                      <a:moveTo>
                        <a:pt x="611424" y="1120928"/>
                      </a:moveTo>
                      <a:cubicBezTo>
                        <a:pt x="611424" y="1120928"/>
                        <a:pt x="611424" y="1120928"/>
                        <a:pt x="644810" y="1142723"/>
                      </a:cubicBezTo>
                      <a:cubicBezTo>
                        <a:pt x="638550" y="1151863"/>
                        <a:pt x="633681" y="1161706"/>
                        <a:pt x="630203" y="1172955"/>
                      </a:cubicBezTo>
                      <a:lnTo>
                        <a:pt x="597513" y="1152566"/>
                      </a:lnTo>
                      <a:cubicBezTo>
                        <a:pt x="604468" y="1143426"/>
                        <a:pt x="609337" y="1132880"/>
                        <a:pt x="611424" y="1120928"/>
                      </a:cubicBezTo>
                      <a:close/>
                      <a:moveTo>
                        <a:pt x="484598" y="1113046"/>
                      </a:moveTo>
                      <a:cubicBezTo>
                        <a:pt x="484598" y="1124469"/>
                        <a:pt x="487458" y="1134463"/>
                        <a:pt x="493179" y="1143744"/>
                      </a:cubicBezTo>
                      <a:cubicBezTo>
                        <a:pt x="493179" y="1143744"/>
                        <a:pt x="493179" y="1143744"/>
                        <a:pt x="435973" y="1155167"/>
                      </a:cubicBezTo>
                      <a:cubicBezTo>
                        <a:pt x="435973" y="1155167"/>
                        <a:pt x="435973" y="1155167"/>
                        <a:pt x="285091" y="1185151"/>
                      </a:cubicBezTo>
                      <a:cubicBezTo>
                        <a:pt x="285091" y="1185151"/>
                        <a:pt x="285091" y="1185151"/>
                        <a:pt x="560396" y="1193004"/>
                      </a:cubicBezTo>
                      <a:cubicBezTo>
                        <a:pt x="560396" y="1193004"/>
                        <a:pt x="560396" y="1193004"/>
                        <a:pt x="626899" y="1195146"/>
                      </a:cubicBezTo>
                      <a:cubicBezTo>
                        <a:pt x="626183" y="1197288"/>
                        <a:pt x="626183" y="1200143"/>
                        <a:pt x="626183" y="1202285"/>
                      </a:cubicBezTo>
                      <a:cubicBezTo>
                        <a:pt x="626183" y="1210852"/>
                        <a:pt x="627614" y="1218705"/>
                        <a:pt x="629044" y="1226558"/>
                      </a:cubicBezTo>
                      <a:cubicBezTo>
                        <a:pt x="629044" y="1226558"/>
                        <a:pt x="629044" y="1226558"/>
                        <a:pt x="234320" y="1214422"/>
                      </a:cubicBezTo>
                      <a:cubicBezTo>
                        <a:pt x="235035" y="1209424"/>
                        <a:pt x="235751" y="1204427"/>
                        <a:pt x="235751" y="1198716"/>
                      </a:cubicBezTo>
                      <a:cubicBezTo>
                        <a:pt x="235751" y="1186579"/>
                        <a:pt x="232890" y="1174443"/>
                        <a:pt x="228600" y="1164448"/>
                      </a:cubicBezTo>
                      <a:cubicBezTo>
                        <a:pt x="228600" y="1164448"/>
                        <a:pt x="228600" y="1164448"/>
                        <a:pt x="484598" y="1113046"/>
                      </a:cubicBezTo>
                      <a:close/>
                      <a:moveTo>
                        <a:pt x="1398975" y="1102010"/>
                      </a:moveTo>
                      <a:cubicBezTo>
                        <a:pt x="1403991" y="1111351"/>
                        <a:pt x="1411157" y="1119973"/>
                        <a:pt x="1420473" y="1125721"/>
                      </a:cubicBezTo>
                      <a:cubicBezTo>
                        <a:pt x="1420473" y="1125721"/>
                        <a:pt x="1420473" y="1125721"/>
                        <a:pt x="1318714" y="1264395"/>
                      </a:cubicBezTo>
                      <a:cubicBezTo>
                        <a:pt x="1312265" y="1256491"/>
                        <a:pt x="1303665" y="1249306"/>
                        <a:pt x="1294349" y="1244995"/>
                      </a:cubicBezTo>
                      <a:cubicBezTo>
                        <a:pt x="1294349" y="1244995"/>
                        <a:pt x="1294349" y="1244995"/>
                        <a:pt x="1398975" y="1102010"/>
                      </a:cubicBezTo>
                      <a:close/>
                      <a:moveTo>
                        <a:pt x="1391827" y="1067326"/>
                      </a:moveTo>
                      <a:cubicBezTo>
                        <a:pt x="1391827" y="1069465"/>
                        <a:pt x="1391827" y="1071604"/>
                        <a:pt x="1391827" y="1073743"/>
                      </a:cubicBezTo>
                      <a:cubicBezTo>
                        <a:pt x="1391827" y="1082299"/>
                        <a:pt x="1393256" y="1090856"/>
                        <a:pt x="1396827" y="1098699"/>
                      </a:cubicBezTo>
                      <a:cubicBezTo>
                        <a:pt x="1396827" y="1098699"/>
                        <a:pt x="1396827" y="1098699"/>
                        <a:pt x="836854" y="1209216"/>
                      </a:cubicBezTo>
                      <a:cubicBezTo>
                        <a:pt x="837568" y="1207077"/>
                        <a:pt x="837568" y="1204938"/>
                        <a:pt x="837568" y="1202799"/>
                      </a:cubicBezTo>
                      <a:cubicBezTo>
                        <a:pt x="837568" y="1194243"/>
                        <a:pt x="836140" y="1185687"/>
                        <a:pt x="833997" y="1177843"/>
                      </a:cubicBezTo>
                      <a:cubicBezTo>
                        <a:pt x="833997" y="1177843"/>
                        <a:pt x="833997" y="1177843"/>
                        <a:pt x="1391827" y="1067326"/>
                      </a:cubicBezTo>
                      <a:close/>
                      <a:moveTo>
                        <a:pt x="1282680" y="889176"/>
                      </a:moveTo>
                      <a:cubicBezTo>
                        <a:pt x="1282680" y="889176"/>
                        <a:pt x="1282680" y="889176"/>
                        <a:pt x="1323413" y="931382"/>
                      </a:cubicBezTo>
                      <a:cubicBezTo>
                        <a:pt x="1323413" y="931382"/>
                        <a:pt x="1323413" y="931382"/>
                        <a:pt x="1414168" y="1025808"/>
                      </a:cubicBezTo>
                      <a:cubicBezTo>
                        <a:pt x="1405593" y="1032247"/>
                        <a:pt x="1399876" y="1041546"/>
                        <a:pt x="1395588" y="1051561"/>
                      </a:cubicBezTo>
                      <a:cubicBezTo>
                        <a:pt x="1395588" y="1051561"/>
                        <a:pt x="1395588" y="1051561"/>
                        <a:pt x="1379152" y="1034393"/>
                      </a:cubicBezTo>
                      <a:cubicBezTo>
                        <a:pt x="1379152" y="1034393"/>
                        <a:pt x="1379152" y="1034393"/>
                        <a:pt x="1261242" y="912067"/>
                      </a:cubicBezTo>
                      <a:cubicBezTo>
                        <a:pt x="1269818" y="905629"/>
                        <a:pt x="1276964" y="898476"/>
                        <a:pt x="1282680" y="889176"/>
                      </a:cubicBezTo>
                      <a:close/>
                      <a:moveTo>
                        <a:pt x="1129929" y="876563"/>
                      </a:moveTo>
                      <a:cubicBezTo>
                        <a:pt x="1134201" y="886585"/>
                        <a:pt x="1140610" y="895176"/>
                        <a:pt x="1147731" y="903051"/>
                      </a:cubicBezTo>
                      <a:lnTo>
                        <a:pt x="826574" y="1157189"/>
                      </a:lnTo>
                      <a:cubicBezTo>
                        <a:pt x="821590" y="1147167"/>
                        <a:pt x="815893" y="1138576"/>
                        <a:pt x="808772" y="1130701"/>
                      </a:cubicBezTo>
                      <a:cubicBezTo>
                        <a:pt x="808772" y="1130701"/>
                        <a:pt x="808772" y="1130701"/>
                        <a:pt x="1129929" y="876563"/>
                      </a:cubicBezTo>
                      <a:close/>
                      <a:moveTo>
                        <a:pt x="33922" y="793005"/>
                      </a:moveTo>
                      <a:lnTo>
                        <a:pt x="137161" y="1114069"/>
                      </a:lnTo>
                      <a:cubicBezTo>
                        <a:pt x="126481" y="1115499"/>
                        <a:pt x="116513" y="1119075"/>
                        <a:pt x="107257" y="1124080"/>
                      </a:cubicBezTo>
                      <a:cubicBezTo>
                        <a:pt x="107257" y="1124080"/>
                        <a:pt x="107257" y="1124080"/>
                        <a:pt x="4730" y="805161"/>
                      </a:cubicBezTo>
                      <a:cubicBezTo>
                        <a:pt x="15410" y="803731"/>
                        <a:pt x="25378" y="799441"/>
                        <a:pt x="33922" y="793005"/>
                      </a:cubicBezTo>
                      <a:close/>
                      <a:moveTo>
                        <a:pt x="1486759" y="774087"/>
                      </a:moveTo>
                      <a:cubicBezTo>
                        <a:pt x="1495298" y="779806"/>
                        <a:pt x="1505259" y="783381"/>
                        <a:pt x="1516644" y="784096"/>
                      </a:cubicBezTo>
                      <a:cubicBezTo>
                        <a:pt x="1516644" y="784096"/>
                        <a:pt x="1516644" y="784096"/>
                        <a:pt x="1468259" y="1010717"/>
                      </a:cubicBezTo>
                      <a:cubicBezTo>
                        <a:pt x="1463990" y="1010002"/>
                        <a:pt x="1459720" y="1009288"/>
                        <a:pt x="1455451" y="1009288"/>
                      </a:cubicBezTo>
                      <a:cubicBezTo>
                        <a:pt x="1448336" y="1009288"/>
                        <a:pt x="1441932" y="1010717"/>
                        <a:pt x="1436239" y="1012147"/>
                      </a:cubicBezTo>
                      <a:cubicBezTo>
                        <a:pt x="1436239" y="1012147"/>
                        <a:pt x="1436239" y="1012147"/>
                        <a:pt x="1486759" y="774087"/>
                      </a:cubicBezTo>
                      <a:close/>
                      <a:moveTo>
                        <a:pt x="52851" y="759899"/>
                      </a:moveTo>
                      <a:cubicBezTo>
                        <a:pt x="52851" y="759899"/>
                        <a:pt x="52851" y="759899"/>
                        <a:pt x="513957" y="1058201"/>
                      </a:cubicBezTo>
                      <a:cubicBezTo>
                        <a:pt x="503948" y="1064639"/>
                        <a:pt x="496084" y="1073224"/>
                        <a:pt x="490365" y="1084669"/>
                      </a:cubicBezTo>
                      <a:lnTo>
                        <a:pt x="37838" y="787798"/>
                      </a:lnTo>
                      <a:cubicBezTo>
                        <a:pt x="45702" y="779929"/>
                        <a:pt x="50706" y="770629"/>
                        <a:pt x="52851" y="759899"/>
                      </a:cubicBezTo>
                      <a:close/>
                      <a:moveTo>
                        <a:pt x="1458598" y="728368"/>
                      </a:moveTo>
                      <a:cubicBezTo>
                        <a:pt x="1459315" y="739101"/>
                        <a:pt x="1463614" y="749118"/>
                        <a:pt x="1469347" y="757704"/>
                      </a:cubicBezTo>
                      <a:cubicBezTo>
                        <a:pt x="1469347" y="757704"/>
                        <a:pt x="1469347" y="757704"/>
                        <a:pt x="1293059" y="821385"/>
                      </a:cubicBezTo>
                      <a:cubicBezTo>
                        <a:pt x="1290910" y="810652"/>
                        <a:pt x="1285893" y="801351"/>
                        <a:pt x="1280160" y="792765"/>
                      </a:cubicBezTo>
                      <a:cubicBezTo>
                        <a:pt x="1280160" y="792765"/>
                        <a:pt x="1280160" y="792765"/>
                        <a:pt x="1458598" y="728368"/>
                      </a:cubicBezTo>
                      <a:close/>
                      <a:moveTo>
                        <a:pt x="551912" y="698412"/>
                      </a:moveTo>
                      <a:cubicBezTo>
                        <a:pt x="551912" y="698412"/>
                        <a:pt x="551912" y="698412"/>
                        <a:pt x="628529" y="904018"/>
                      </a:cubicBezTo>
                      <a:cubicBezTo>
                        <a:pt x="628529" y="904018"/>
                        <a:pt x="628529" y="904018"/>
                        <a:pt x="701565" y="1101772"/>
                      </a:cubicBezTo>
                      <a:cubicBezTo>
                        <a:pt x="691540" y="1104627"/>
                        <a:pt x="682232" y="1108911"/>
                        <a:pt x="672923" y="1114622"/>
                      </a:cubicBezTo>
                      <a:cubicBezTo>
                        <a:pt x="672923" y="1114622"/>
                        <a:pt x="672923" y="1114622"/>
                        <a:pt x="521839" y="708407"/>
                      </a:cubicBezTo>
                      <a:cubicBezTo>
                        <a:pt x="533295" y="707693"/>
                        <a:pt x="543320" y="704123"/>
                        <a:pt x="551912" y="698412"/>
                      </a:cubicBezTo>
                      <a:close/>
                      <a:moveTo>
                        <a:pt x="580726" y="649540"/>
                      </a:moveTo>
                      <a:cubicBezTo>
                        <a:pt x="580726" y="649540"/>
                        <a:pt x="580726" y="649540"/>
                        <a:pt x="1135117" y="799313"/>
                      </a:cubicBezTo>
                      <a:cubicBezTo>
                        <a:pt x="1129394" y="808629"/>
                        <a:pt x="1125818" y="819378"/>
                        <a:pt x="1124387" y="830844"/>
                      </a:cubicBezTo>
                      <a:cubicBezTo>
                        <a:pt x="1124387" y="830844"/>
                        <a:pt x="1124387" y="830844"/>
                        <a:pt x="570711" y="679638"/>
                      </a:cubicBezTo>
                      <a:cubicBezTo>
                        <a:pt x="576433" y="670322"/>
                        <a:pt x="580010" y="660289"/>
                        <a:pt x="580726" y="649540"/>
                      </a:cubicBezTo>
                      <a:close/>
                      <a:moveTo>
                        <a:pt x="454766" y="644810"/>
                      </a:moveTo>
                      <a:cubicBezTo>
                        <a:pt x="454766" y="644810"/>
                        <a:pt x="454766" y="644810"/>
                        <a:pt x="454766" y="645519"/>
                      </a:cubicBezTo>
                      <a:cubicBezTo>
                        <a:pt x="454766" y="656153"/>
                        <a:pt x="457632" y="666078"/>
                        <a:pt x="461930" y="674585"/>
                      </a:cubicBezTo>
                      <a:cubicBezTo>
                        <a:pt x="461930" y="674585"/>
                        <a:pt x="461930" y="674585"/>
                        <a:pt x="53600" y="750440"/>
                      </a:cubicBezTo>
                      <a:cubicBezTo>
                        <a:pt x="53600" y="749731"/>
                        <a:pt x="53600" y="749731"/>
                        <a:pt x="53600" y="749022"/>
                      </a:cubicBezTo>
                      <a:cubicBezTo>
                        <a:pt x="53600" y="738388"/>
                        <a:pt x="50734" y="728463"/>
                        <a:pt x="45720" y="720665"/>
                      </a:cubicBezTo>
                      <a:cubicBezTo>
                        <a:pt x="45720" y="720665"/>
                        <a:pt x="45720" y="720665"/>
                        <a:pt x="454766" y="644810"/>
                      </a:cubicBezTo>
                      <a:close/>
                      <a:moveTo>
                        <a:pt x="79516" y="424092"/>
                      </a:moveTo>
                      <a:cubicBezTo>
                        <a:pt x="87326" y="430552"/>
                        <a:pt x="97265" y="435576"/>
                        <a:pt x="107205" y="438446"/>
                      </a:cubicBezTo>
                      <a:lnTo>
                        <a:pt x="29818" y="704718"/>
                      </a:lnTo>
                      <a:cubicBezTo>
                        <a:pt x="21299" y="698259"/>
                        <a:pt x="11359" y="694670"/>
                        <a:pt x="0" y="694670"/>
                      </a:cubicBezTo>
                      <a:cubicBezTo>
                        <a:pt x="0" y="694670"/>
                        <a:pt x="0" y="694670"/>
                        <a:pt x="79516" y="424092"/>
                      </a:cubicBezTo>
                      <a:close/>
                      <a:moveTo>
                        <a:pt x="208506" y="395715"/>
                      </a:moveTo>
                      <a:cubicBezTo>
                        <a:pt x="208506" y="395715"/>
                        <a:pt x="208506" y="395715"/>
                        <a:pt x="476120" y="597037"/>
                      </a:cubicBezTo>
                      <a:cubicBezTo>
                        <a:pt x="468249" y="604177"/>
                        <a:pt x="461809" y="612743"/>
                        <a:pt x="458231" y="622738"/>
                      </a:cubicBezTo>
                      <a:cubicBezTo>
                        <a:pt x="458231" y="622738"/>
                        <a:pt x="458231" y="622738"/>
                        <a:pt x="272190" y="482812"/>
                      </a:cubicBezTo>
                      <a:cubicBezTo>
                        <a:pt x="272190" y="482812"/>
                        <a:pt x="272190" y="482812"/>
                        <a:pt x="189187" y="420702"/>
                      </a:cubicBezTo>
                      <a:cubicBezTo>
                        <a:pt x="197058" y="413563"/>
                        <a:pt x="203498" y="404996"/>
                        <a:pt x="208506" y="395715"/>
                      </a:cubicBezTo>
                      <a:close/>
                      <a:moveTo>
                        <a:pt x="1322678" y="383102"/>
                      </a:moveTo>
                      <a:cubicBezTo>
                        <a:pt x="1331965" y="388092"/>
                        <a:pt x="1341967" y="390943"/>
                        <a:pt x="1352682" y="392369"/>
                      </a:cubicBezTo>
                      <a:cubicBezTo>
                        <a:pt x="1352682" y="392369"/>
                        <a:pt x="1352682" y="392369"/>
                        <a:pt x="1246240" y="763051"/>
                      </a:cubicBezTo>
                      <a:cubicBezTo>
                        <a:pt x="1236953" y="758774"/>
                        <a:pt x="1226237" y="756635"/>
                        <a:pt x="1215521" y="755923"/>
                      </a:cubicBezTo>
                      <a:cubicBezTo>
                        <a:pt x="1215521" y="755923"/>
                        <a:pt x="1215521" y="755923"/>
                        <a:pt x="1322678" y="383102"/>
                      </a:cubicBezTo>
                      <a:close/>
                      <a:moveTo>
                        <a:pt x="1411158" y="381526"/>
                      </a:moveTo>
                      <a:cubicBezTo>
                        <a:pt x="1411158" y="381526"/>
                        <a:pt x="1411158" y="381526"/>
                        <a:pt x="1507184" y="659746"/>
                      </a:cubicBezTo>
                      <a:cubicBezTo>
                        <a:pt x="1496435" y="661891"/>
                        <a:pt x="1486402" y="667613"/>
                        <a:pt x="1478520" y="674765"/>
                      </a:cubicBezTo>
                      <a:cubicBezTo>
                        <a:pt x="1478520" y="674765"/>
                        <a:pt x="1478520" y="674765"/>
                        <a:pt x="1381060" y="391539"/>
                      </a:cubicBezTo>
                      <a:cubicBezTo>
                        <a:pt x="1391809" y="389394"/>
                        <a:pt x="1401842" y="385817"/>
                        <a:pt x="1411158" y="381526"/>
                      </a:cubicBezTo>
                      <a:close/>
                      <a:moveTo>
                        <a:pt x="1011554" y="316887"/>
                      </a:moveTo>
                      <a:cubicBezTo>
                        <a:pt x="1011554" y="316887"/>
                        <a:pt x="1011554" y="316887"/>
                        <a:pt x="1193450" y="757939"/>
                      </a:cubicBezTo>
                      <a:cubicBezTo>
                        <a:pt x="1182708" y="759367"/>
                        <a:pt x="1172683" y="763649"/>
                        <a:pt x="1164089" y="769358"/>
                      </a:cubicBezTo>
                      <a:lnTo>
                        <a:pt x="1036618" y="461050"/>
                      </a:lnTo>
                      <a:cubicBezTo>
                        <a:pt x="1036618" y="461050"/>
                        <a:pt x="1036618" y="461050"/>
                        <a:pt x="982192" y="329020"/>
                      </a:cubicBezTo>
                      <a:cubicBezTo>
                        <a:pt x="992934" y="326879"/>
                        <a:pt x="1002959" y="322597"/>
                        <a:pt x="1011554" y="316887"/>
                      </a:cubicBezTo>
                      <a:close/>
                      <a:moveTo>
                        <a:pt x="883902" y="279050"/>
                      </a:moveTo>
                      <a:cubicBezTo>
                        <a:pt x="888194" y="289036"/>
                        <a:pt x="894633" y="297595"/>
                        <a:pt x="901788" y="305442"/>
                      </a:cubicBezTo>
                      <a:lnTo>
                        <a:pt x="574117" y="616432"/>
                      </a:lnTo>
                      <a:cubicBezTo>
                        <a:pt x="569109" y="607159"/>
                        <a:pt x="561955" y="599313"/>
                        <a:pt x="553370" y="592894"/>
                      </a:cubicBezTo>
                      <a:cubicBezTo>
                        <a:pt x="553370" y="592894"/>
                        <a:pt x="553370" y="592894"/>
                        <a:pt x="883902" y="279050"/>
                      </a:cubicBezTo>
                      <a:close/>
                      <a:moveTo>
                        <a:pt x="501344" y="277473"/>
                      </a:moveTo>
                      <a:cubicBezTo>
                        <a:pt x="507077" y="278899"/>
                        <a:pt x="513526" y="280325"/>
                        <a:pt x="520692" y="280325"/>
                      </a:cubicBezTo>
                      <a:cubicBezTo>
                        <a:pt x="524275" y="280325"/>
                        <a:pt x="528575" y="279612"/>
                        <a:pt x="532875" y="278899"/>
                      </a:cubicBezTo>
                      <a:cubicBezTo>
                        <a:pt x="532875" y="278899"/>
                        <a:pt x="532875" y="278899"/>
                        <a:pt x="532875" y="583324"/>
                      </a:cubicBezTo>
                      <a:cubicBezTo>
                        <a:pt x="527858" y="581898"/>
                        <a:pt x="522126" y="581185"/>
                        <a:pt x="517109" y="581185"/>
                      </a:cubicBezTo>
                      <a:cubicBezTo>
                        <a:pt x="511376" y="581185"/>
                        <a:pt x="506360" y="581898"/>
                        <a:pt x="501344" y="583324"/>
                      </a:cubicBezTo>
                      <a:cubicBezTo>
                        <a:pt x="501344" y="583324"/>
                        <a:pt x="501344" y="583324"/>
                        <a:pt x="501344" y="277473"/>
                      </a:cubicBezTo>
                      <a:close/>
                      <a:moveTo>
                        <a:pt x="1048408" y="227024"/>
                      </a:moveTo>
                      <a:cubicBezTo>
                        <a:pt x="1048408" y="227024"/>
                        <a:pt x="1048408" y="227024"/>
                        <a:pt x="1275431" y="263418"/>
                      </a:cubicBezTo>
                      <a:cubicBezTo>
                        <a:pt x="1271873" y="273408"/>
                        <a:pt x="1269738" y="284112"/>
                        <a:pt x="1269026" y="294816"/>
                      </a:cubicBezTo>
                      <a:lnTo>
                        <a:pt x="1049120" y="259136"/>
                      </a:lnTo>
                      <a:cubicBezTo>
                        <a:pt x="1049832" y="254141"/>
                        <a:pt x="1050543" y="249146"/>
                        <a:pt x="1050543" y="244864"/>
                      </a:cubicBezTo>
                      <a:cubicBezTo>
                        <a:pt x="1050543" y="238442"/>
                        <a:pt x="1049832" y="232733"/>
                        <a:pt x="1048408" y="227024"/>
                      </a:cubicBezTo>
                      <a:close/>
                      <a:moveTo>
                        <a:pt x="552154" y="61486"/>
                      </a:moveTo>
                      <a:cubicBezTo>
                        <a:pt x="560815" y="67162"/>
                        <a:pt x="570920" y="70709"/>
                        <a:pt x="581747" y="72128"/>
                      </a:cubicBezTo>
                      <a:cubicBezTo>
                        <a:pt x="581747" y="72128"/>
                        <a:pt x="581747" y="72128"/>
                        <a:pt x="576694" y="89155"/>
                      </a:cubicBezTo>
                      <a:cubicBezTo>
                        <a:pt x="576694" y="89155"/>
                        <a:pt x="576694" y="89155"/>
                        <a:pt x="552154" y="160809"/>
                      </a:cubicBezTo>
                      <a:cubicBezTo>
                        <a:pt x="543492" y="155843"/>
                        <a:pt x="532665" y="153005"/>
                        <a:pt x="521839" y="153005"/>
                      </a:cubicBezTo>
                      <a:cubicBezTo>
                        <a:pt x="521839" y="153005"/>
                        <a:pt x="521839" y="153005"/>
                        <a:pt x="552154" y="61486"/>
                      </a:cubicBezTo>
                      <a:close/>
                      <a:moveTo>
                        <a:pt x="1026661" y="44144"/>
                      </a:moveTo>
                      <a:cubicBezTo>
                        <a:pt x="1026661" y="44144"/>
                        <a:pt x="1026661" y="44144"/>
                        <a:pt x="1297502" y="229622"/>
                      </a:cubicBezTo>
                      <a:cubicBezTo>
                        <a:pt x="1290375" y="237500"/>
                        <a:pt x="1283960" y="246093"/>
                        <a:pt x="1278971" y="255403"/>
                      </a:cubicBezTo>
                      <a:cubicBezTo>
                        <a:pt x="1278971" y="255403"/>
                        <a:pt x="1278971" y="255403"/>
                        <a:pt x="1007417" y="69209"/>
                      </a:cubicBezTo>
                      <a:cubicBezTo>
                        <a:pt x="1015970" y="62764"/>
                        <a:pt x="1022385" y="54170"/>
                        <a:pt x="1026661" y="44144"/>
                      </a:cubicBezTo>
                      <a:close/>
                      <a:moveTo>
                        <a:pt x="530014" y="33107"/>
                      </a:moveTo>
                      <a:cubicBezTo>
                        <a:pt x="533596" y="43116"/>
                        <a:pt x="540759" y="51695"/>
                        <a:pt x="548639" y="58129"/>
                      </a:cubicBezTo>
                      <a:cubicBezTo>
                        <a:pt x="548639" y="58129"/>
                        <a:pt x="548639" y="58129"/>
                        <a:pt x="209812" y="301196"/>
                      </a:cubicBezTo>
                      <a:cubicBezTo>
                        <a:pt x="209812" y="301196"/>
                        <a:pt x="209812" y="301196"/>
                        <a:pt x="457664" y="219697"/>
                      </a:cubicBezTo>
                      <a:cubicBezTo>
                        <a:pt x="458380" y="230421"/>
                        <a:pt x="461246" y="241144"/>
                        <a:pt x="466976" y="249723"/>
                      </a:cubicBezTo>
                      <a:cubicBezTo>
                        <a:pt x="466976" y="249723"/>
                        <a:pt x="466976" y="249723"/>
                        <a:pt x="214826" y="332652"/>
                      </a:cubicBezTo>
                      <a:cubicBezTo>
                        <a:pt x="209096" y="312635"/>
                        <a:pt x="196201" y="295477"/>
                        <a:pt x="179726" y="284039"/>
                      </a:cubicBezTo>
                      <a:cubicBezTo>
                        <a:pt x="179726" y="284039"/>
                        <a:pt x="179726" y="284039"/>
                        <a:pt x="530014" y="33107"/>
                      </a:cubicBezTo>
                      <a:close/>
                      <a:moveTo>
                        <a:pt x="650512" y="0"/>
                      </a:moveTo>
                      <a:cubicBezTo>
                        <a:pt x="650512" y="0"/>
                        <a:pt x="650512" y="0"/>
                        <a:pt x="905591" y="5692"/>
                      </a:cubicBezTo>
                      <a:cubicBezTo>
                        <a:pt x="904879" y="9961"/>
                        <a:pt x="904166" y="14231"/>
                        <a:pt x="904166" y="18500"/>
                      </a:cubicBezTo>
                      <a:cubicBezTo>
                        <a:pt x="904166" y="34154"/>
                        <a:pt x="909866" y="49097"/>
                        <a:pt x="919129" y="59770"/>
                      </a:cubicBezTo>
                      <a:cubicBezTo>
                        <a:pt x="919129" y="59770"/>
                        <a:pt x="919129" y="59770"/>
                        <a:pt x="589236" y="202078"/>
                      </a:cubicBezTo>
                      <a:cubicBezTo>
                        <a:pt x="589236" y="202078"/>
                        <a:pt x="589236" y="202078"/>
                        <a:pt x="882791" y="210617"/>
                      </a:cubicBezTo>
                      <a:cubicBezTo>
                        <a:pt x="879228" y="219867"/>
                        <a:pt x="876378" y="230540"/>
                        <a:pt x="876378" y="241213"/>
                      </a:cubicBezTo>
                      <a:cubicBezTo>
                        <a:pt x="876378" y="241213"/>
                        <a:pt x="876378" y="241213"/>
                        <a:pt x="582111" y="233386"/>
                      </a:cubicBezTo>
                      <a:cubicBezTo>
                        <a:pt x="584248" y="227694"/>
                        <a:pt x="584961" y="222001"/>
                        <a:pt x="584961" y="216309"/>
                      </a:cubicBezTo>
                      <a:cubicBezTo>
                        <a:pt x="584961" y="201367"/>
                        <a:pt x="579261" y="187136"/>
                        <a:pt x="570711" y="176463"/>
                      </a:cubicBezTo>
                      <a:cubicBezTo>
                        <a:pt x="570711" y="176463"/>
                        <a:pt x="570711" y="176463"/>
                        <a:pt x="894191" y="36289"/>
                      </a:cubicBezTo>
                      <a:lnTo>
                        <a:pt x="647662" y="31308"/>
                      </a:lnTo>
                      <a:cubicBezTo>
                        <a:pt x="649800" y="24192"/>
                        <a:pt x="651225" y="16365"/>
                        <a:pt x="651225" y="8538"/>
                      </a:cubicBezTo>
                      <a:cubicBezTo>
                        <a:pt x="651225" y="5692"/>
                        <a:pt x="651225" y="2846"/>
                        <a:pt x="650512"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5" name="Freeform 12">
                  <a:extLst>
                    <a:ext uri="{FF2B5EF4-FFF2-40B4-BE49-F238E27FC236}">
                      <a16:creationId xmlns:a16="http://schemas.microsoft.com/office/drawing/2014/main" id="{EAF1F79B-133C-0DF6-EB3A-22D92C8C071B}"/>
                    </a:ext>
                  </a:extLst>
                </p:cNvPr>
                <p:cNvSpPr>
                  <a:spLocks noChangeArrowheads="1"/>
                </p:cNvSpPr>
                <p:nvPr/>
              </p:nvSpPr>
              <p:spPr bwMode="auto">
                <a:xfrm>
                  <a:off x="5306396" y="2654912"/>
                  <a:ext cx="1579208" cy="1548175"/>
                </a:xfrm>
                <a:custGeom>
                  <a:avLst/>
                  <a:gdLst>
                    <a:gd name="connsiteX0" fmla="*/ 790640 w 1579208"/>
                    <a:gd name="connsiteY0" fmla="*/ 1483535 h 1548175"/>
                    <a:gd name="connsiteX1" fmla="*/ 822960 w 1579208"/>
                    <a:gd name="connsiteY1" fmla="*/ 1515855 h 1548175"/>
                    <a:gd name="connsiteX2" fmla="*/ 790640 w 1579208"/>
                    <a:gd name="connsiteY2" fmla="*/ 1548175 h 1548175"/>
                    <a:gd name="connsiteX3" fmla="*/ 758320 w 1579208"/>
                    <a:gd name="connsiteY3" fmla="*/ 1515855 h 1548175"/>
                    <a:gd name="connsiteX4" fmla="*/ 790640 w 1579208"/>
                    <a:gd name="connsiteY4" fmla="*/ 1483535 h 1548175"/>
                    <a:gd name="connsiteX5" fmla="*/ 1295138 w 1579208"/>
                    <a:gd name="connsiteY5" fmla="*/ 1288043 h 1548175"/>
                    <a:gd name="connsiteX6" fmla="*/ 1327458 w 1579208"/>
                    <a:gd name="connsiteY6" fmla="*/ 1320363 h 1548175"/>
                    <a:gd name="connsiteX7" fmla="*/ 1295138 w 1579208"/>
                    <a:gd name="connsiteY7" fmla="*/ 1352683 h 1548175"/>
                    <a:gd name="connsiteX8" fmla="*/ 1262818 w 1579208"/>
                    <a:gd name="connsiteY8" fmla="*/ 1320363 h 1548175"/>
                    <a:gd name="connsiteX9" fmla="*/ 1295138 w 1579208"/>
                    <a:gd name="connsiteY9" fmla="*/ 1288043 h 1548175"/>
                    <a:gd name="connsiteX10" fmla="*/ 176574 w 1579208"/>
                    <a:gd name="connsiteY10" fmla="*/ 1168225 h 1548175"/>
                    <a:gd name="connsiteX11" fmla="*/ 231754 w 1579208"/>
                    <a:gd name="connsiteY11" fmla="*/ 1222616 h 1548175"/>
                    <a:gd name="connsiteX12" fmla="*/ 176574 w 1579208"/>
                    <a:gd name="connsiteY12" fmla="*/ 1277007 h 1548175"/>
                    <a:gd name="connsiteX13" fmla="*/ 121394 w 1579208"/>
                    <a:gd name="connsiteY13" fmla="*/ 1222616 h 1548175"/>
                    <a:gd name="connsiteX14" fmla="*/ 176574 w 1579208"/>
                    <a:gd name="connsiteY14" fmla="*/ 1168225 h 1548175"/>
                    <a:gd name="connsiteX15" fmla="*/ 758322 w 1579208"/>
                    <a:gd name="connsiteY15" fmla="*/ 1146153 h 1548175"/>
                    <a:gd name="connsiteX16" fmla="*/ 832420 w 1579208"/>
                    <a:gd name="connsiteY16" fmla="*/ 1220251 h 1548175"/>
                    <a:gd name="connsiteX17" fmla="*/ 758322 w 1579208"/>
                    <a:gd name="connsiteY17" fmla="*/ 1294349 h 1548175"/>
                    <a:gd name="connsiteX18" fmla="*/ 684224 w 1579208"/>
                    <a:gd name="connsiteY18" fmla="*/ 1220251 h 1548175"/>
                    <a:gd name="connsiteX19" fmla="*/ 758322 w 1579208"/>
                    <a:gd name="connsiteY19" fmla="*/ 1146153 h 1548175"/>
                    <a:gd name="connsiteX20" fmla="*/ 574654 w 1579208"/>
                    <a:gd name="connsiteY20" fmla="*/ 1103586 h 1548175"/>
                    <a:gd name="connsiteX21" fmla="*/ 606974 w 1579208"/>
                    <a:gd name="connsiteY21" fmla="*/ 1135906 h 1548175"/>
                    <a:gd name="connsiteX22" fmla="*/ 574654 w 1579208"/>
                    <a:gd name="connsiteY22" fmla="*/ 1168226 h 1548175"/>
                    <a:gd name="connsiteX23" fmla="*/ 542334 w 1579208"/>
                    <a:gd name="connsiteY23" fmla="*/ 1135906 h 1548175"/>
                    <a:gd name="connsiteX24" fmla="*/ 574654 w 1579208"/>
                    <a:gd name="connsiteY24" fmla="*/ 1103586 h 1548175"/>
                    <a:gd name="connsiteX25" fmla="*/ 1481171 w 1579208"/>
                    <a:gd name="connsiteY25" fmla="*/ 1057866 h 1548175"/>
                    <a:gd name="connsiteX26" fmla="*/ 1513491 w 1579208"/>
                    <a:gd name="connsiteY26" fmla="*/ 1090186 h 1548175"/>
                    <a:gd name="connsiteX27" fmla="*/ 1481171 w 1579208"/>
                    <a:gd name="connsiteY27" fmla="*/ 1122506 h 1548175"/>
                    <a:gd name="connsiteX28" fmla="*/ 1448851 w 1579208"/>
                    <a:gd name="connsiteY28" fmla="*/ 1090186 h 1548175"/>
                    <a:gd name="connsiteX29" fmla="*/ 1481171 w 1579208"/>
                    <a:gd name="connsiteY29" fmla="*/ 1057866 h 1548175"/>
                    <a:gd name="connsiteX30" fmla="*/ 1235519 w 1579208"/>
                    <a:gd name="connsiteY30" fmla="*/ 809523 h 1548175"/>
                    <a:gd name="connsiteX31" fmla="*/ 1290699 w 1579208"/>
                    <a:gd name="connsiteY31" fmla="*/ 864703 h 1548175"/>
                    <a:gd name="connsiteX32" fmla="*/ 1235519 w 1579208"/>
                    <a:gd name="connsiteY32" fmla="*/ 919883 h 1548175"/>
                    <a:gd name="connsiteX33" fmla="*/ 1180339 w 1579208"/>
                    <a:gd name="connsiteY33" fmla="*/ 864703 h 1548175"/>
                    <a:gd name="connsiteX34" fmla="*/ 1235519 w 1579208"/>
                    <a:gd name="connsiteY34" fmla="*/ 809523 h 1548175"/>
                    <a:gd name="connsiteX35" fmla="*/ 24437 w 1579208"/>
                    <a:gd name="connsiteY35" fmla="*/ 748862 h 1548175"/>
                    <a:gd name="connsiteX36" fmla="*/ 48874 w 1579208"/>
                    <a:gd name="connsiteY36" fmla="*/ 773299 h 1548175"/>
                    <a:gd name="connsiteX37" fmla="*/ 24437 w 1579208"/>
                    <a:gd name="connsiteY37" fmla="*/ 797736 h 1548175"/>
                    <a:gd name="connsiteX38" fmla="*/ 0 w 1579208"/>
                    <a:gd name="connsiteY38" fmla="*/ 773299 h 1548175"/>
                    <a:gd name="connsiteX39" fmla="*/ 24437 w 1579208"/>
                    <a:gd name="connsiteY39" fmla="*/ 748862 h 1548175"/>
                    <a:gd name="connsiteX40" fmla="*/ 1547677 w 1579208"/>
                    <a:gd name="connsiteY40" fmla="*/ 711777 h 1548175"/>
                    <a:gd name="connsiteX41" fmla="*/ 1579208 w 1579208"/>
                    <a:gd name="connsiteY41" fmla="*/ 744097 h 1548175"/>
                    <a:gd name="connsiteX42" fmla="*/ 1547677 w 1579208"/>
                    <a:gd name="connsiteY42" fmla="*/ 776417 h 1548175"/>
                    <a:gd name="connsiteX43" fmla="*/ 1516146 w 1579208"/>
                    <a:gd name="connsiteY43" fmla="*/ 744097 h 1548175"/>
                    <a:gd name="connsiteX44" fmla="*/ 1547677 w 1579208"/>
                    <a:gd name="connsiteY44" fmla="*/ 711777 h 1548175"/>
                    <a:gd name="connsiteX45" fmla="*/ 544699 w 1579208"/>
                    <a:gd name="connsiteY45" fmla="*/ 636927 h 1548175"/>
                    <a:gd name="connsiteX46" fmla="*/ 577019 w 1579208"/>
                    <a:gd name="connsiteY46" fmla="*/ 669247 h 1548175"/>
                    <a:gd name="connsiteX47" fmla="*/ 544699 w 1579208"/>
                    <a:gd name="connsiteY47" fmla="*/ 701567 h 1548175"/>
                    <a:gd name="connsiteX48" fmla="*/ 512379 w 1579208"/>
                    <a:gd name="connsiteY48" fmla="*/ 669247 h 1548175"/>
                    <a:gd name="connsiteX49" fmla="*/ 544699 w 1579208"/>
                    <a:gd name="connsiteY49" fmla="*/ 636927 h 1548175"/>
                    <a:gd name="connsiteX50" fmla="*/ 159232 w 1579208"/>
                    <a:gd name="connsiteY50" fmla="*/ 324770 h 1548175"/>
                    <a:gd name="connsiteX51" fmla="*/ 214412 w 1579208"/>
                    <a:gd name="connsiteY51" fmla="*/ 379950 h 1548175"/>
                    <a:gd name="connsiteX52" fmla="*/ 159232 w 1579208"/>
                    <a:gd name="connsiteY52" fmla="*/ 435130 h 1548175"/>
                    <a:gd name="connsiteX53" fmla="*/ 104052 w 1579208"/>
                    <a:gd name="connsiteY53" fmla="*/ 379950 h 1548175"/>
                    <a:gd name="connsiteX54" fmla="*/ 159232 w 1579208"/>
                    <a:gd name="connsiteY54" fmla="*/ 324770 h 1548175"/>
                    <a:gd name="connsiteX55" fmla="*/ 1391598 w 1579208"/>
                    <a:gd name="connsiteY55" fmla="*/ 256154 h 1548175"/>
                    <a:gd name="connsiteX56" fmla="*/ 1456237 w 1579208"/>
                    <a:gd name="connsiteY56" fmla="*/ 320793 h 1548175"/>
                    <a:gd name="connsiteX57" fmla="*/ 1391598 w 1579208"/>
                    <a:gd name="connsiteY57" fmla="*/ 385432 h 1548175"/>
                    <a:gd name="connsiteX58" fmla="*/ 1326959 w 1579208"/>
                    <a:gd name="connsiteY58" fmla="*/ 320793 h 1548175"/>
                    <a:gd name="connsiteX59" fmla="*/ 1391598 w 1579208"/>
                    <a:gd name="connsiteY59" fmla="*/ 256154 h 1548175"/>
                    <a:gd name="connsiteX60" fmla="*/ 990074 w 1579208"/>
                    <a:gd name="connsiteY60" fmla="*/ 212835 h 1548175"/>
                    <a:gd name="connsiteX61" fmla="*/ 1045254 w 1579208"/>
                    <a:gd name="connsiteY61" fmla="*/ 268015 h 1548175"/>
                    <a:gd name="connsiteX62" fmla="*/ 990074 w 1579208"/>
                    <a:gd name="connsiteY62" fmla="*/ 323195 h 1548175"/>
                    <a:gd name="connsiteX63" fmla="*/ 934894 w 1579208"/>
                    <a:gd name="connsiteY63" fmla="*/ 268015 h 1548175"/>
                    <a:gd name="connsiteX64" fmla="*/ 990074 w 1579208"/>
                    <a:gd name="connsiteY64" fmla="*/ 212835 h 1548175"/>
                    <a:gd name="connsiteX65" fmla="*/ 547852 w 1579208"/>
                    <a:gd name="connsiteY65" fmla="*/ 208105 h 1548175"/>
                    <a:gd name="connsiteX66" fmla="*/ 580172 w 1579208"/>
                    <a:gd name="connsiteY66" fmla="*/ 240425 h 1548175"/>
                    <a:gd name="connsiteX67" fmla="*/ 547852 w 1579208"/>
                    <a:gd name="connsiteY67" fmla="*/ 272745 h 1548175"/>
                    <a:gd name="connsiteX68" fmla="*/ 515532 w 1579208"/>
                    <a:gd name="connsiteY68" fmla="*/ 240425 h 1548175"/>
                    <a:gd name="connsiteX69" fmla="*/ 547852 w 1579208"/>
                    <a:gd name="connsiteY69" fmla="*/ 208105 h 1548175"/>
                    <a:gd name="connsiteX70" fmla="*/ 995592 w 1579208"/>
                    <a:gd name="connsiteY70" fmla="*/ 11037 h 1548175"/>
                    <a:gd name="connsiteX71" fmla="*/ 1027912 w 1579208"/>
                    <a:gd name="connsiteY71" fmla="*/ 42568 h 1548175"/>
                    <a:gd name="connsiteX72" fmla="*/ 995592 w 1579208"/>
                    <a:gd name="connsiteY72" fmla="*/ 74099 h 1548175"/>
                    <a:gd name="connsiteX73" fmla="*/ 963272 w 1579208"/>
                    <a:gd name="connsiteY73" fmla="*/ 42568 h 1548175"/>
                    <a:gd name="connsiteX74" fmla="*/ 995592 w 1579208"/>
                    <a:gd name="connsiteY74" fmla="*/ 11037 h 1548175"/>
                    <a:gd name="connsiteX75" fmla="*/ 614067 w 1579208"/>
                    <a:gd name="connsiteY75" fmla="*/ 0 h 1548175"/>
                    <a:gd name="connsiteX76" fmla="*/ 646387 w 1579208"/>
                    <a:gd name="connsiteY76" fmla="*/ 32320 h 1548175"/>
                    <a:gd name="connsiteX77" fmla="*/ 614067 w 1579208"/>
                    <a:gd name="connsiteY77" fmla="*/ 64640 h 1548175"/>
                    <a:gd name="connsiteX78" fmla="*/ 581747 w 1579208"/>
                    <a:gd name="connsiteY78" fmla="*/ 32320 h 1548175"/>
                    <a:gd name="connsiteX79" fmla="*/ 614067 w 1579208"/>
                    <a:gd name="connsiteY79" fmla="*/ 0 h 154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79208" h="1548175">
                      <a:moveTo>
                        <a:pt x="790640" y="1483535"/>
                      </a:moveTo>
                      <a:cubicBezTo>
                        <a:pt x="808490" y="1483535"/>
                        <a:pt x="822960" y="1498005"/>
                        <a:pt x="822960" y="1515855"/>
                      </a:cubicBezTo>
                      <a:cubicBezTo>
                        <a:pt x="822960" y="1533705"/>
                        <a:pt x="808490" y="1548175"/>
                        <a:pt x="790640" y="1548175"/>
                      </a:cubicBezTo>
                      <a:cubicBezTo>
                        <a:pt x="772790" y="1548175"/>
                        <a:pt x="758320" y="1533705"/>
                        <a:pt x="758320" y="1515855"/>
                      </a:cubicBezTo>
                      <a:cubicBezTo>
                        <a:pt x="758320" y="1498005"/>
                        <a:pt x="772790" y="1483535"/>
                        <a:pt x="790640" y="1483535"/>
                      </a:cubicBezTo>
                      <a:close/>
                      <a:moveTo>
                        <a:pt x="1295138" y="1288043"/>
                      </a:moveTo>
                      <a:cubicBezTo>
                        <a:pt x="1312988" y="1288043"/>
                        <a:pt x="1327458" y="1302513"/>
                        <a:pt x="1327458" y="1320363"/>
                      </a:cubicBezTo>
                      <a:cubicBezTo>
                        <a:pt x="1327458" y="1338213"/>
                        <a:pt x="1312988" y="1352683"/>
                        <a:pt x="1295138" y="1352683"/>
                      </a:cubicBezTo>
                      <a:cubicBezTo>
                        <a:pt x="1277288" y="1352683"/>
                        <a:pt x="1262818" y="1338213"/>
                        <a:pt x="1262818" y="1320363"/>
                      </a:cubicBezTo>
                      <a:cubicBezTo>
                        <a:pt x="1262818" y="1302513"/>
                        <a:pt x="1277288" y="1288043"/>
                        <a:pt x="1295138" y="1288043"/>
                      </a:cubicBezTo>
                      <a:close/>
                      <a:moveTo>
                        <a:pt x="176574" y="1168225"/>
                      </a:moveTo>
                      <a:cubicBezTo>
                        <a:pt x="207049" y="1168225"/>
                        <a:pt x="231754" y="1192577"/>
                        <a:pt x="231754" y="1222616"/>
                      </a:cubicBezTo>
                      <a:cubicBezTo>
                        <a:pt x="231754" y="1252655"/>
                        <a:pt x="207049" y="1277007"/>
                        <a:pt x="176574" y="1277007"/>
                      </a:cubicBezTo>
                      <a:cubicBezTo>
                        <a:pt x="146099" y="1277007"/>
                        <a:pt x="121394" y="1252655"/>
                        <a:pt x="121394" y="1222616"/>
                      </a:cubicBezTo>
                      <a:cubicBezTo>
                        <a:pt x="121394" y="1192577"/>
                        <a:pt x="146099" y="1168225"/>
                        <a:pt x="176574" y="1168225"/>
                      </a:cubicBezTo>
                      <a:close/>
                      <a:moveTo>
                        <a:pt x="758322" y="1146153"/>
                      </a:moveTo>
                      <a:cubicBezTo>
                        <a:pt x="799245" y="1146153"/>
                        <a:pt x="832420" y="1179328"/>
                        <a:pt x="832420" y="1220251"/>
                      </a:cubicBezTo>
                      <a:cubicBezTo>
                        <a:pt x="832420" y="1261174"/>
                        <a:pt x="799245" y="1294349"/>
                        <a:pt x="758322" y="1294349"/>
                      </a:cubicBezTo>
                      <a:cubicBezTo>
                        <a:pt x="717399" y="1294349"/>
                        <a:pt x="684224" y="1261174"/>
                        <a:pt x="684224" y="1220251"/>
                      </a:cubicBezTo>
                      <a:cubicBezTo>
                        <a:pt x="684224" y="1179328"/>
                        <a:pt x="717399" y="1146153"/>
                        <a:pt x="758322" y="1146153"/>
                      </a:cubicBezTo>
                      <a:close/>
                      <a:moveTo>
                        <a:pt x="574654" y="1103586"/>
                      </a:moveTo>
                      <a:cubicBezTo>
                        <a:pt x="592504" y="1103586"/>
                        <a:pt x="606974" y="1118056"/>
                        <a:pt x="606974" y="1135906"/>
                      </a:cubicBezTo>
                      <a:cubicBezTo>
                        <a:pt x="606974" y="1153756"/>
                        <a:pt x="592504" y="1168226"/>
                        <a:pt x="574654" y="1168226"/>
                      </a:cubicBezTo>
                      <a:cubicBezTo>
                        <a:pt x="556804" y="1168226"/>
                        <a:pt x="542334" y="1153756"/>
                        <a:pt x="542334" y="1135906"/>
                      </a:cubicBezTo>
                      <a:cubicBezTo>
                        <a:pt x="542334" y="1118056"/>
                        <a:pt x="556804" y="1103586"/>
                        <a:pt x="574654" y="1103586"/>
                      </a:cubicBezTo>
                      <a:close/>
                      <a:moveTo>
                        <a:pt x="1481171" y="1057866"/>
                      </a:moveTo>
                      <a:cubicBezTo>
                        <a:pt x="1499021" y="1057866"/>
                        <a:pt x="1513491" y="1072336"/>
                        <a:pt x="1513491" y="1090186"/>
                      </a:cubicBezTo>
                      <a:cubicBezTo>
                        <a:pt x="1513491" y="1108036"/>
                        <a:pt x="1499021" y="1122506"/>
                        <a:pt x="1481171" y="1122506"/>
                      </a:cubicBezTo>
                      <a:cubicBezTo>
                        <a:pt x="1463321" y="1122506"/>
                        <a:pt x="1448851" y="1108036"/>
                        <a:pt x="1448851" y="1090186"/>
                      </a:cubicBezTo>
                      <a:cubicBezTo>
                        <a:pt x="1448851" y="1072336"/>
                        <a:pt x="1463321" y="1057866"/>
                        <a:pt x="1481171" y="1057866"/>
                      </a:cubicBezTo>
                      <a:close/>
                      <a:moveTo>
                        <a:pt x="1235519" y="809523"/>
                      </a:moveTo>
                      <a:cubicBezTo>
                        <a:pt x="1265994" y="809523"/>
                        <a:pt x="1290699" y="834228"/>
                        <a:pt x="1290699" y="864703"/>
                      </a:cubicBezTo>
                      <a:cubicBezTo>
                        <a:pt x="1290699" y="895178"/>
                        <a:pt x="1265994" y="919883"/>
                        <a:pt x="1235519" y="919883"/>
                      </a:cubicBezTo>
                      <a:cubicBezTo>
                        <a:pt x="1205044" y="919883"/>
                        <a:pt x="1180339" y="895178"/>
                        <a:pt x="1180339" y="864703"/>
                      </a:cubicBezTo>
                      <a:cubicBezTo>
                        <a:pt x="1180339" y="834228"/>
                        <a:pt x="1205044" y="809523"/>
                        <a:pt x="1235519" y="809523"/>
                      </a:cubicBezTo>
                      <a:close/>
                      <a:moveTo>
                        <a:pt x="24437" y="748862"/>
                      </a:moveTo>
                      <a:cubicBezTo>
                        <a:pt x="37933" y="748862"/>
                        <a:pt x="48874" y="759803"/>
                        <a:pt x="48874" y="773299"/>
                      </a:cubicBezTo>
                      <a:cubicBezTo>
                        <a:pt x="48874" y="786795"/>
                        <a:pt x="37933" y="797736"/>
                        <a:pt x="24437" y="797736"/>
                      </a:cubicBezTo>
                      <a:cubicBezTo>
                        <a:pt x="10941" y="797736"/>
                        <a:pt x="0" y="786795"/>
                        <a:pt x="0" y="773299"/>
                      </a:cubicBezTo>
                      <a:cubicBezTo>
                        <a:pt x="0" y="759803"/>
                        <a:pt x="10941" y="748862"/>
                        <a:pt x="24437" y="748862"/>
                      </a:cubicBezTo>
                      <a:close/>
                      <a:moveTo>
                        <a:pt x="1547677" y="711777"/>
                      </a:moveTo>
                      <a:cubicBezTo>
                        <a:pt x="1565091" y="711777"/>
                        <a:pt x="1579208" y="726247"/>
                        <a:pt x="1579208" y="744097"/>
                      </a:cubicBezTo>
                      <a:cubicBezTo>
                        <a:pt x="1579208" y="761947"/>
                        <a:pt x="1565091" y="776417"/>
                        <a:pt x="1547677" y="776417"/>
                      </a:cubicBezTo>
                      <a:cubicBezTo>
                        <a:pt x="1530263" y="776417"/>
                        <a:pt x="1516146" y="761947"/>
                        <a:pt x="1516146" y="744097"/>
                      </a:cubicBezTo>
                      <a:cubicBezTo>
                        <a:pt x="1516146" y="726247"/>
                        <a:pt x="1530263" y="711777"/>
                        <a:pt x="1547677" y="711777"/>
                      </a:cubicBezTo>
                      <a:close/>
                      <a:moveTo>
                        <a:pt x="544699" y="636927"/>
                      </a:moveTo>
                      <a:cubicBezTo>
                        <a:pt x="562549" y="636927"/>
                        <a:pt x="577019" y="651397"/>
                        <a:pt x="577019" y="669247"/>
                      </a:cubicBezTo>
                      <a:cubicBezTo>
                        <a:pt x="577019" y="687097"/>
                        <a:pt x="562549" y="701567"/>
                        <a:pt x="544699" y="701567"/>
                      </a:cubicBezTo>
                      <a:cubicBezTo>
                        <a:pt x="526849" y="701567"/>
                        <a:pt x="512379" y="687097"/>
                        <a:pt x="512379" y="669247"/>
                      </a:cubicBezTo>
                      <a:cubicBezTo>
                        <a:pt x="512379" y="651397"/>
                        <a:pt x="526849" y="636927"/>
                        <a:pt x="544699" y="636927"/>
                      </a:cubicBezTo>
                      <a:close/>
                      <a:moveTo>
                        <a:pt x="159232" y="324770"/>
                      </a:moveTo>
                      <a:cubicBezTo>
                        <a:pt x="189707" y="324770"/>
                        <a:pt x="214412" y="349475"/>
                        <a:pt x="214412" y="379950"/>
                      </a:cubicBezTo>
                      <a:cubicBezTo>
                        <a:pt x="214412" y="410425"/>
                        <a:pt x="189707" y="435130"/>
                        <a:pt x="159232" y="435130"/>
                      </a:cubicBezTo>
                      <a:cubicBezTo>
                        <a:pt x="128757" y="435130"/>
                        <a:pt x="104052" y="410425"/>
                        <a:pt x="104052" y="379950"/>
                      </a:cubicBezTo>
                      <a:cubicBezTo>
                        <a:pt x="104052" y="349475"/>
                        <a:pt x="128757" y="324770"/>
                        <a:pt x="159232" y="324770"/>
                      </a:cubicBezTo>
                      <a:close/>
                      <a:moveTo>
                        <a:pt x="1391598" y="256154"/>
                      </a:moveTo>
                      <a:cubicBezTo>
                        <a:pt x="1427297" y="256154"/>
                        <a:pt x="1456237" y="285094"/>
                        <a:pt x="1456237" y="320793"/>
                      </a:cubicBezTo>
                      <a:cubicBezTo>
                        <a:pt x="1456237" y="356492"/>
                        <a:pt x="1427297" y="385432"/>
                        <a:pt x="1391598" y="385432"/>
                      </a:cubicBezTo>
                      <a:cubicBezTo>
                        <a:pt x="1355899" y="385432"/>
                        <a:pt x="1326959" y="356492"/>
                        <a:pt x="1326959" y="320793"/>
                      </a:cubicBezTo>
                      <a:cubicBezTo>
                        <a:pt x="1326959" y="285094"/>
                        <a:pt x="1355899" y="256154"/>
                        <a:pt x="1391598" y="256154"/>
                      </a:cubicBezTo>
                      <a:close/>
                      <a:moveTo>
                        <a:pt x="990074" y="212835"/>
                      </a:moveTo>
                      <a:cubicBezTo>
                        <a:pt x="1020549" y="212835"/>
                        <a:pt x="1045254" y="237540"/>
                        <a:pt x="1045254" y="268015"/>
                      </a:cubicBezTo>
                      <a:cubicBezTo>
                        <a:pt x="1045254" y="298490"/>
                        <a:pt x="1020549" y="323195"/>
                        <a:pt x="990074" y="323195"/>
                      </a:cubicBezTo>
                      <a:cubicBezTo>
                        <a:pt x="959599" y="323195"/>
                        <a:pt x="934894" y="298490"/>
                        <a:pt x="934894" y="268015"/>
                      </a:cubicBezTo>
                      <a:cubicBezTo>
                        <a:pt x="934894" y="237540"/>
                        <a:pt x="959599" y="212835"/>
                        <a:pt x="990074" y="212835"/>
                      </a:cubicBezTo>
                      <a:close/>
                      <a:moveTo>
                        <a:pt x="547852" y="208105"/>
                      </a:moveTo>
                      <a:cubicBezTo>
                        <a:pt x="565702" y="208105"/>
                        <a:pt x="580172" y="222575"/>
                        <a:pt x="580172" y="240425"/>
                      </a:cubicBezTo>
                      <a:cubicBezTo>
                        <a:pt x="580172" y="258275"/>
                        <a:pt x="565702" y="272745"/>
                        <a:pt x="547852" y="272745"/>
                      </a:cubicBezTo>
                      <a:cubicBezTo>
                        <a:pt x="530002" y="272745"/>
                        <a:pt x="515532" y="258275"/>
                        <a:pt x="515532" y="240425"/>
                      </a:cubicBezTo>
                      <a:cubicBezTo>
                        <a:pt x="515532" y="222575"/>
                        <a:pt x="530002" y="208105"/>
                        <a:pt x="547852" y="208105"/>
                      </a:cubicBezTo>
                      <a:close/>
                      <a:moveTo>
                        <a:pt x="995592" y="11037"/>
                      </a:moveTo>
                      <a:cubicBezTo>
                        <a:pt x="1013442" y="11037"/>
                        <a:pt x="1027912" y="25154"/>
                        <a:pt x="1027912" y="42568"/>
                      </a:cubicBezTo>
                      <a:cubicBezTo>
                        <a:pt x="1027912" y="59982"/>
                        <a:pt x="1013442" y="74099"/>
                        <a:pt x="995592" y="74099"/>
                      </a:cubicBezTo>
                      <a:cubicBezTo>
                        <a:pt x="977742" y="74099"/>
                        <a:pt x="963272" y="59982"/>
                        <a:pt x="963272" y="42568"/>
                      </a:cubicBezTo>
                      <a:cubicBezTo>
                        <a:pt x="963272" y="25154"/>
                        <a:pt x="977742" y="11037"/>
                        <a:pt x="995592" y="11037"/>
                      </a:cubicBezTo>
                      <a:close/>
                      <a:moveTo>
                        <a:pt x="614067" y="0"/>
                      </a:moveTo>
                      <a:cubicBezTo>
                        <a:pt x="631917" y="0"/>
                        <a:pt x="646387" y="14470"/>
                        <a:pt x="646387" y="32320"/>
                      </a:cubicBezTo>
                      <a:cubicBezTo>
                        <a:pt x="646387" y="50170"/>
                        <a:pt x="631917" y="64640"/>
                        <a:pt x="614067" y="64640"/>
                      </a:cubicBezTo>
                      <a:cubicBezTo>
                        <a:pt x="596217" y="64640"/>
                        <a:pt x="581747" y="50170"/>
                        <a:pt x="581747" y="32320"/>
                      </a:cubicBezTo>
                      <a:cubicBezTo>
                        <a:pt x="581747" y="14470"/>
                        <a:pt x="596217" y="0"/>
                        <a:pt x="614067" y="0"/>
                      </a:cubicBezTo>
                      <a:close/>
                    </a:path>
                  </a:pathLst>
                </a:custGeom>
                <a:solidFill>
                  <a:schemeClr val="tx2"/>
                </a:solidFill>
                <a:ln>
                  <a:noFill/>
                </a:ln>
                <a:effectLst/>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p>
              </p:txBody>
            </p:sp>
          </p:grpSp>
        </p:grpSp>
      </p:grpSp>
      <p:cxnSp>
        <p:nvCxnSpPr>
          <p:cNvPr id="36" name="Straight Connector 35">
            <a:extLst>
              <a:ext uri="{FF2B5EF4-FFF2-40B4-BE49-F238E27FC236}">
                <a16:creationId xmlns:a16="http://schemas.microsoft.com/office/drawing/2014/main" id="{D9FBB995-D084-05AE-47A4-C05728C70001}"/>
              </a:ext>
            </a:extLst>
          </p:cNvPr>
          <p:cNvCxnSpPr>
            <a:cxnSpLocks/>
          </p:cNvCxnSpPr>
          <p:nvPr/>
        </p:nvCxnSpPr>
        <p:spPr>
          <a:xfrm flipV="1">
            <a:off x="982615" y="4317255"/>
            <a:ext cx="0" cy="1686440"/>
          </a:xfrm>
          <a:prstGeom prst="line">
            <a:avLst/>
          </a:prstGeom>
          <a:ln w="19050" cap="rnd">
            <a:solidFill>
              <a:schemeClr val="accent5"/>
            </a:solidFill>
            <a:prstDash val="sysDot"/>
            <a:headEnd type="ova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FA978243-D204-C150-C12A-C4573C40BA8C}"/>
              </a:ext>
            </a:extLst>
          </p:cNvPr>
          <p:cNvGrpSpPr/>
          <p:nvPr/>
        </p:nvGrpSpPr>
        <p:grpSpPr>
          <a:xfrm>
            <a:off x="4095013" y="2459431"/>
            <a:ext cx="2115004" cy="2914073"/>
            <a:chOff x="4095013" y="2459431"/>
            <a:chExt cx="2115004" cy="2914073"/>
          </a:xfrm>
        </p:grpSpPr>
        <p:sp>
          <p:nvSpPr>
            <p:cNvPr id="37" name="Freeform: Shape 36">
              <a:extLst>
                <a:ext uri="{FF2B5EF4-FFF2-40B4-BE49-F238E27FC236}">
                  <a16:creationId xmlns:a16="http://schemas.microsoft.com/office/drawing/2014/main" id="{AD270A39-776E-DCB8-0D80-477636B7E0AF}"/>
                </a:ext>
              </a:extLst>
            </p:cNvPr>
            <p:cNvSpPr/>
            <p:nvPr/>
          </p:nvSpPr>
          <p:spPr>
            <a:xfrm rot="5400000">
              <a:off x="4191845" y="2362600"/>
              <a:ext cx="471531" cy="665195"/>
            </a:xfrm>
            <a:custGeom>
              <a:avLst/>
              <a:gdLst/>
              <a:ahLst/>
              <a:cxnLst/>
              <a:rect l="l" t="t" r="r" b="b"/>
              <a:pathLst>
                <a:path w="590045" h="832383">
                  <a:moveTo>
                    <a:pt x="0" y="832383"/>
                  </a:moveTo>
                  <a:lnTo>
                    <a:pt x="0" y="0"/>
                  </a:lnTo>
                  <a:lnTo>
                    <a:pt x="590045" y="0"/>
                  </a:lnTo>
                  <a:lnTo>
                    <a:pt x="590045" y="832383"/>
                  </a:lnTo>
                  <a:lnTo>
                    <a:pt x="0" y="832383"/>
                  </a:lnTo>
                  <a:close/>
                </a:path>
              </a:pathLst>
            </a:custGeom>
            <a:solidFill>
              <a:srgbClr val="00598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148" tIns="41148" rIns="41148" bIns="41148"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8" name="Freeform: Shape 37">
              <a:extLst>
                <a:ext uri="{FF2B5EF4-FFF2-40B4-BE49-F238E27FC236}">
                  <a16:creationId xmlns:a16="http://schemas.microsoft.com/office/drawing/2014/main" id="{5FBB4144-F872-FE6F-ACF4-5344F7545D3B}"/>
                </a:ext>
              </a:extLst>
            </p:cNvPr>
            <p:cNvSpPr/>
            <p:nvPr/>
          </p:nvSpPr>
          <p:spPr>
            <a:xfrm rot="5400000">
              <a:off x="4909861" y="2362711"/>
              <a:ext cx="471531" cy="664972"/>
            </a:xfrm>
            <a:custGeom>
              <a:avLst/>
              <a:gdLst/>
              <a:ahLst/>
              <a:cxnLst/>
              <a:rect l="l" t="t" r="r" b="b"/>
              <a:pathLst>
                <a:path w="590045" h="689727">
                  <a:moveTo>
                    <a:pt x="0" y="689727"/>
                  </a:moveTo>
                  <a:lnTo>
                    <a:pt x="0" y="0"/>
                  </a:lnTo>
                  <a:lnTo>
                    <a:pt x="590045" y="0"/>
                  </a:lnTo>
                  <a:lnTo>
                    <a:pt x="590045" y="689727"/>
                  </a:lnTo>
                  <a:lnTo>
                    <a:pt x="0" y="689727"/>
                  </a:lnTo>
                  <a:close/>
                </a:path>
              </a:pathLst>
            </a:custGeom>
            <a:solidFill>
              <a:srgbClr val="00598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148" tIns="41148" rIns="41148" bIns="41148"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9" name="Freeform: Shape 38">
              <a:extLst>
                <a:ext uri="{FF2B5EF4-FFF2-40B4-BE49-F238E27FC236}">
                  <a16:creationId xmlns:a16="http://schemas.microsoft.com/office/drawing/2014/main" id="{89222EA3-11C5-EBB4-F511-A4438D0F590D}"/>
                </a:ext>
              </a:extLst>
            </p:cNvPr>
            <p:cNvSpPr/>
            <p:nvPr/>
          </p:nvSpPr>
          <p:spPr>
            <a:xfrm rot="5400000">
              <a:off x="5634766" y="2355711"/>
              <a:ext cx="471531" cy="678971"/>
            </a:xfrm>
            <a:custGeom>
              <a:avLst/>
              <a:gdLst/>
              <a:ahLst/>
              <a:cxnLst/>
              <a:rect l="l" t="t" r="r" b="b"/>
              <a:pathLst>
                <a:path w="590045" h="849622">
                  <a:moveTo>
                    <a:pt x="0" y="849622"/>
                  </a:moveTo>
                  <a:lnTo>
                    <a:pt x="0" y="0"/>
                  </a:lnTo>
                  <a:lnTo>
                    <a:pt x="275160" y="0"/>
                  </a:lnTo>
                  <a:lnTo>
                    <a:pt x="590045" y="166927"/>
                  </a:lnTo>
                  <a:lnTo>
                    <a:pt x="590045" y="849622"/>
                  </a:lnTo>
                  <a:lnTo>
                    <a:pt x="0" y="849622"/>
                  </a:lnTo>
                  <a:close/>
                </a:path>
              </a:pathLst>
            </a:custGeom>
            <a:solidFill>
              <a:srgbClr val="00598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148" tIns="41148" rIns="41148" bIns="41148"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0" name="Freeform: Shape 39">
              <a:extLst>
                <a:ext uri="{FF2B5EF4-FFF2-40B4-BE49-F238E27FC236}">
                  <a16:creationId xmlns:a16="http://schemas.microsoft.com/office/drawing/2014/main" id="{3882807A-ED7E-5032-A6C9-62710044AF2D}"/>
                </a:ext>
              </a:extLst>
            </p:cNvPr>
            <p:cNvSpPr/>
            <p:nvPr/>
          </p:nvSpPr>
          <p:spPr>
            <a:xfrm rot="5400000">
              <a:off x="5378382" y="2840331"/>
              <a:ext cx="526917" cy="813647"/>
            </a:xfrm>
            <a:custGeom>
              <a:avLst/>
              <a:gdLst/>
              <a:ahLst/>
              <a:cxnLst/>
              <a:rect l="l" t="t" r="r" b="b"/>
              <a:pathLst>
                <a:path w="659351" h="1018146">
                  <a:moveTo>
                    <a:pt x="0" y="671126"/>
                  </a:moveTo>
                  <a:lnTo>
                    <a:pt x="0" y="0"/>
                  </a:lnTo>
                  <a:lnTo>
                    <a:pt x="236378" y="125309"/>
                  </a:lnTo>
                  <a:cubicBezTo>
                    <a:pt x="340493" y="179019"/>
                    <a:pt x="449462" y="234175"/>
                    <a:pt x="563285" y="290777"/>
                  </a:cubicBezTo>
                  <a:lnTo>
                    <a:pt x="659351" y="337765"/>
                  </a:lnTo>
                  <a:lnTo>
                    <a:pt x="659351" y="1018146"/>
                  </a:lnTo>
                  <a:lnTo>
                    <a:pt x="381898" y="875415"/>
                  </a:lnTo>
                  <a:lnTo>
                    <a:pt x="0" y="671126"/>
                  </a:lnTo>
                  <a:close/>
                </a:path>
              </a:pathLst>
            </a:custGeom>
            <a:solidFill>
              <a:srgbClr val="00598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148" tIns="41148" rIns="41148" bIns="41148"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1" name="Freeform: Shape 40">
              <a:extLst>
                <a:ext uri="{FF2B5EF4-FFF2-40B4-BE49-F238E27FC236}">
                  <a16:creationId xmlns:a16="http://schemas.microsoft.com/office/drawing/2014/main" id="{627FABEC-11AA-6B0C-3C4A-D1F250E3ABFB}"/>
                </a:ext>
              </a:extLst>
            </p:cNvPr>
            <p:cNvSpPr/>
            <p:nvPr/>
          </p:nvSpPr>
          <p:spPr>
            <a:xfrm rot="5400000">
              <a:off x="5049506" y="3439558"/>
              <a:ext cx="579652" cy="827231"/>
            </a:xfrm>
            <a:custGeom>
              <a:avLst/>
              <a:gdLst/>
              <a:ahLst/>
              <a:cxnLst/>
              <a:rect l="l" t="t" r="r" b="b"/>
              <a:pathLst>
                <a:path w="725340" h="1035145">
                  <a:moveTo>
                    <a:pt x="0" y="682051"/>
                  </a:moveTo>
                  <a:lnTo>
                    <a:pt x="0" y="0"/>
                  </a:lnTo>
                  <a:lnTo>
                    <a:pt x="193981" y="94880"/>
                  </a:lnTo>
                  <a:lnTo>
                    <a:pt x="725340" y="339585"/>
                  </a:lnTo>
                  <a:lnTo>
                    <a:pt x="725340" y="1035145"/>
                  </a:lnTo>
                  <a:lnTo>
                    <a:pt x="489786" y="924931"/>
                  </a:lnTo>
                  <a:cubicBezTo>
                    <a:pt x="356776" y="861047"/>
                    <a:pt x="220836" y="794142"/>
                    <a:pt x="81965" y="724216"/>
                  </a:cubicBezTo>
                  <a:lnTo>
                    <a:pt x="0" y="682051"/>
                  </a:lnTo>
                  <a:close/>
                </a:path>
              </a:pathLst>
            </a:custGeom>
            <a:solidFill>
              <a:srgbClr val="00598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148" tIns="41148" rIns="41148" bIns="41148" numCol="1" spcCol="0" rtlCol="0" fromWordArt="0" anchor="ctr" anchorCtr="0" forceAA="0" compatLnSpc="1">
              <a:prstTxWarp prst="textNoShape">
                <a:avLst/>
              </a:prstTxWarp>
              <a:noAutofit/>
            </a:bodyPr>
            <a:lstStyle/>
            <a:p>
              <a:pPr algn="ctr"/>
              <a:endParaRPr lang="en-US" sz="1200">
                <a:solidFill>
                  <a:srgbClr val="00B0F0"/>
                </a:solidFill>
              </a:endParaRPr>
            </a:p>
          </p:txBody>
        </p:sp>
        <p:sp>
          <p:nvSpPr>
            <p:cNvPr id="42" name="Freeform: Shape 41">
              <a:extLst>
                <a:ext uri="{FF2B5EF4-FFF2-40B4-BE49-F238E27FC236}">
                  <a16:creationId xmlns:a16="http://schemas.microsoft.com/office/drawing/2014/main" id="{90405F09-45EE-7FDD-B9CD-E0CE75DC6399}"/>
                </a:ext>
              </a:extLst>
            </p:cNvPr>
            <p:cNvSpPr/>
            <p:nvPr/>
          </p:nvSpPr>
          <p:spPr>
            <a:xfrm rot="5400000">
              <a:off x="4763568" y="4081669"/>
              <a:ext cx="579652" cy="807780"/>
            </a:xfrm>
            <a:custGeom>
              <a:avLst/>
              <a:gdLst/>
              <a:ahLst/>
              <a:cxnLst/>
              <a:rect l="l" t="t" r="r" b="b"/>
              <a:pathLst>
                <a:path w="725340" h="1010805">
                  <a:moveTo>
                    <a:pt x="0" y="696045"/>
                  </a:moveTo>
                  <a:lnTo>
                    <a:pt x="0" y="0"/>
                  </a:lnTo>
                  <a:lnTo>
                    <a:pt x="156244" y="71954"/>
                  </a:lnTo>
                  <a:cubicBezTo>
                    <a:pt x="283908" y="128143"/>
                    <a:pt x="407441" y="181026"/>
                    <a:pt x="526842" y="230604"/>
                  </a:cubicBezTo>
                  <a:lnTo>
                    <a:pt x="725340" y="310288"/>
                  </a:lnTo>
                  <a:lnTo>
                    <a:pt x="725340" y="1010805"/>
                  </a:lnTo>
                  <a:lnTo>
                    <a:pt x="461345" y="902004"/>
                  </a:lnTo>
                  <a:cubicBezTo>
                    <a:pt x="340058" y="850206"/>
                    <a:pt x="215841" y="795385"/>
                    <a:pt x="88694" y="737544"/>
                  </a:cubicBezTo>
                  <a:lnTo>
                    <a:pt x="0" y="696045"/>
                  </a:lnTo>
                  <a:close/>
                </a:path>
              </a:pathLst>
            </a:custGeom>
            <a:solidFill>
              <a:srgbClr val="00598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148" tIns="41148" rIns="41148" bIns="41148" numCol="1" spcCol="0" rtlCol="0" fromWordArt="0" anchor="ctr" anchorCtr="0" forceAA="0" compatLnSpc="1">
              <a:prstTxWarp prst="textNoShape">
                <a:avLst/>
              </a:prstTxWarp>
              <a:noAutofit/>
            </a:bodyPr>
            <a:lstStyle/>
            <a:p>
              <a:pPr algn="ctr"/>
              <a:endParaRPr lang="en-US" sz="1200">
                <a:solidFill>
                  <a:srgbClr val="00B0F0"/>
                </a:solidFill>
              </a:endParaRPr>
            </a:p>
          </p:txBody>
        </p:sp>
        <p:sp>
          <p:nvSpPr>
            <p:cNvPr id="43" name="Freeform: Shape 42">
              <a:extLst>
                <a:ext uri="{FF2B5EF4-FFF2-40B4-BE49-F238E27FC236}">
                  <a16:creationId xmlns:a16="http://schemas.microsoft.com/office/drawing/2014/main" id="{BCE8FB03-AB56-EBBA-4D8E-84E139D02685}"/>
                </a:ext>
              </a:extLst>
            </p:cNvPr>
            <p:cNvSpPr/>
            <p:nvPr/>
          </p:nvSpPr>
          <p:spPr>
            <a:xfrm rot="5400000">
              <a:off x="4535924" y="4721279"/>
              <a:ext cx="545385" cy="759065"/>
            </a:xfrm>
            <a:custGeom>
              <a:avLst/>
              <a:gdLst/>
              <a:ahLst/>
              <a:cxnLst/>
              <a:rect l="l" t="t" r="r" b="b"/>
              <a:pathLst>
                <a:path w="682461" h="949846">
                  <a:moveTo>
                    <a:pt x="0" y="701223"/>
                  </a:moveTo>
                  <a:lnTo>
                    <a:pt x="0" y="0"/>
                  </a:lnTo>
                  <a:lnTo>
                    <a:pt x="81323" y="32646"/>
                  </a:lnTo>
                  <a:cubicBezTo>
                    <a:pt x="303600" y="118582"/>
                    <a:pt x="503979" y="188818"/>
                    <a:pt x="682461" y="243354"/>
                  </a:cubicBezTo>
                  <a:lnTo>
                    <a:pt x="682461" y="949846"/>
                  </a:lnTo>
                  <a:cubicBezTo>
                    <a:pt x="475058" y="882502"/>
                    <a:pt x="255932" y="803074"/>
                    <a:pt x="25083" y="711560"/>
                  </a:cubicBezTo>
                  <a:lnTo>
                    <a:pt x="0" y="701223"/>
                  </a:lnTo>
                  <a:close/>
                </a:path>
              </a:pathLst>
            </a:custGeom>
            <a:solidFill>
              <a:srgbClr val="00598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148" tIns="41148" rIns="41148" bIns="41148" numCol="1" spcCol="0" rtlCol="0" fromWordArt="0" anchor="ctr" anchorCtr="0" forceAA="0" compatLnSpc="1">
              <a:prstTxWarp prst="textNoShape">
                <a:avLst/>
              </a:prstTxWarp>
              <a:noAutofit/>
            </a:bodyPr>
            <a:lstStyle/>
            <a:p>
              <a:pPr algn="ctr"/>
              <a:endParaRPr lang="en-US" sz="1200">
                <a:solidFill>
                  <a:srgbClr val="00B0F0"/>
                </a:solidFill>
              </a:endParaRPr>
            </a:p>
          </p:txBody>
        </p:sp>
        <p:sp>
          <p:nvSpPr>
            <p:cNvPr id="44" name="Oval 20">
              <a:extLst>
                <a:ext uri="{FF2B5EF4-FFF2-40B4-BE49-F238E27FC236}">
                  <a16:creationId xmlns:a16="http://schemas.microsoft.com/office/drawing/2014/main" id="{E877C124-61DA-1CD6-A6BB-2B3CD22671D7}"/>
                </a:ext>
              </a:extLst>
            </p:cNvPr>
            <p:cNvSpPr>
              <a:spLocks noChangeAspect="1" noChangeArrowheads="1"/>
            </p:cNvSpPr>
            <p:nvPr/>
          </p:nvSpPr>
          <p:spPr bwMode="auto">
            <a:xfrm>
              <a:off x="4290450" y="2558036"/>
              <a:ext cx="274320" cy="27432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tx2"/>
                  </a:solidFill>
                  <a:effectLst/>
                  <a:uLnTx/>
                  <a:uFillTx/>
                  <a:ea typeface="+mn-ea"/>
                  <a:cs typeface="+mn-cs"/>
                </a:rPr>
                <a:t>1</a:t>
              </a:r>
            </a:p>
          </p:txBody>
        </p:sp>
        <p:sp>
          <p:nvSpPr>
            <p:cNvPr id="45" name="Oval 20">
              <a:extLst>
                <a:ext uri="{FF2B5EF4-FFF2-40B4-BE49-F238E27FC236}">
                  <a16:creationId xmlns:a16="http://schemas.microsoft.com/office/drawing/2014/main" id="{F09A56A6-05EC-B359-BC50-CE5B64EB3AFB}"/>
                </a:ext>
              </a:extLst>
            </p:cNvPr>
            <p:cNvSpPr>
              <a:spLocks noChangeAspect="1" noChangeArrowheads="1"/>
            </p:cNvSpPr>
            <p:nvPr/>
          </p:nvSpPr>
          <p:spPr bwMode="auto">
            <a:xfrm>
              <a:off x="5008466" y="2558036"/>
              <a:ext cx="274320" cy="27432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tx2"/>
                  </a:solidFill>
                  <a:effectLst/>
                  <a:uLnTx/>
                  <a:uFillTx/>
                  <a:ea typeface="+mn-ea"/>
                  <a:cs typeface="+mn-cs"/>
                </a:rPr>
                <a:t>2</a:t>
              </a:r>
            </a:p>
          </p:txBody>
        </p:sp>
        <p:sp>
          <p:nvSpPr>
            <p:cNvPr id="46" name="Oval 20">
              <a:extLst>
                <a:ext uri="{FF2B5EF4-FFF2-40B4-BE49-F238E27FC236}">
                  <a16:creationId xmlns:a16="http://schemas.microsoft.com/office/drawing/2014/main" id="{C7DA8D4F-1396-EEEC-4488-FDE3562C1C51}"/>
                </a:ext>
              </a:extLst>
            </p:cNvPr>
            <p:cNvSpPr>
              <a:spLocks noChangeAspect="1" noChangeArrowheads="1"/>
            </p:cNvSpPr>
            <p:nvPr/>
          </p:nvSpPr>
          <p:spPr bwMode="auto">
            <a:xfrm>
              <a:off x="5733370" y="2558036"/>
              <a:ext cx="274320" cy="27432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tx2"/>
                  </a:solidFill>
                  <a:effectLst/>
                  <a:uLnTx/>
                  <a:uFillTx/>
                  <a:ea typeface="+mn-ea"/>
                  <a:cs typeface="+mn-cs"/>
                </a:rPr>
                <a:t>3</a:t>
              </a:r>
            </a:p>
          </p:txBody>
        </p:sp>
        <p:sp>
          <p:nvSpPr>
            <p:cNvPr id="47" name="Oval 20">
              <a:extLst>
                <a:ext uri="{FF2B5EF4-FFF2-40B4-BE49-F238E27FC236}">
                  <a16:creationId xmlns:a16="http://schemas.microsoft.com/office/drawing/2014/main" id="{F1FAAA34-D8D9-39DB-770C-A12FE91D55D2}"/>
                </a:ext>
              </a:extLst>
            </p:cNvPr>
            <p:cNvSpPr>
              <a:spLocks noChangeAspect="1" noChangeArrowheads="1"/>
            </p:cNvSpPr>
            <p:nvPr/>
          </p:nvSpPr>
          <p:spPr bwMode="auto">
            <a:xfrm>
              <a:off x="5504680" y="3109994"/>
              <a:ext cx="274320" cy="27432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R="0" lvl="0" algn="ctr" defTabSz="914400" rtl="0" eaLnBrk="1" fontAlgn="auto" latinLnBrk="0" hangingPunct="1">
                <a:lnSpc>
                  <a:spcPct val="100000"/>
                </a:lnSpc>
                <a:spcBef>
                  <a:spcPts val="0"/>
                </a:spcBef>
                <a:spcAft>
                  <a:spcPts val="0"/>
                </a:spcAft>
                <a:buClrTx/>
                <a:buSzTx/>
                <a:buFontTx/>
                <a:buNone/>
                <a:tabLst/>
                <a:defRPr/>
              </a:pPr>
              <a:r>
                <a:rPr lang="en-US" sz="1100">
                  <a:solidFill>
                    <a:schemeClr val="tx2"/>
                  </a:solidFill>
                </a:rPr>
                <a:t>4</a:t>
              </a:r>
              <a:endParaRPr kumimoji="0" lang="en-US" sz="1100" i="0" u="none" strike="noStrike" kern="1200" cap="none" spc="0" normalizeH="0" baseline="0" noProof="0">
                <a:ln>
                  <a:noFill/>
                </a:ln>
                <a:solidFill>
                  <a:schemeClr val="tx2"/>
                </a:solidFill>
                <a:effectLst/>
                <a:uLnTx/>
                <a:uFillTx/>
              </a:endParaRPr>
            </a:p>
          </p:txBody>
        </p:sp>
        <p:sp>
          <p:nvSpPr>
            <p:cNvPr id="48" name="Oval 20">
              <a:extLst>
                <a:ext uri="{FF2B5EF4-FFF2-40B4-BE49-F238E27FC236}">
                  <a16:creationId xmlns:a16="http://schemas.microsoft.com/office/drawing/2014/main" id="{A03806CF-BBB6-864C-2A69-75BD14CE4A5A}"/>
                </a:ext>
              </a:extLst>
            </p:cNvPr>
            <p:cNvSpPr>
              <a:spLocks noChangeAspect="1" noChangeArrowheads="1"/>
            </p:cNvSpPr>
            <p:nvPr/>
          </p:nvSpPr>
          <p:spPr bwMode="auto">
            <a:xfrm>
              <a:off x="5202171" y="3716012"/>
              <a:ext cx="274320" cy="27432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tx2"/>
                  </a:solidFill>
                  <a:effectLst/>
                  <a:uLnTx/>
                  <a:uFillTx/>
                  <a:ea typeface="+mn-ea"/>
                  <a:cs typeface="+mn-cs"/>
                </a:rPr>
                <a:t>5</a:t>
              </a:r>
            </a:p>
          </p:txBody>
        </p:sp>
        <p:sp>
          <p:nvSpPr>
            <p:cNvPr id="49" name="Oval 20">
              <a:extLst>
                <a:ext uri="{FF2B5EF4-FFF2-40B4-BE49-F238E27FC236}">
                  <a16:creationId xmlns:a16="http://schemas.microsoft.com/office/drawing/2014/main" id="{38D5AA5C-B939-67D6-830C-31AB75E15E33}"/>
                </a:ext>
              </a:extLst>
            </p:cNvPr>
            <p:cNvSpPr>
              <a:spLocks noChangeAspect="1" noChangeArrowheads="1"/>
            </p:cNvSpPr>
            <p:nvPr/>
          </p:nvSpPr>
          <p:spPr bwMode="auto">
            <a:xfrm>
              <a:off x="4916234" y="4348398"/>
              <a:ext cx="274320" cy="27432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R="0" lvl="0" algn="ctr" defTabSz="914400" rtl="0" eaLnBrk="1" fontAlgn="auto" latinLnBrk="0" hangingPunct="1">
                <a:lnSpc>
                  <a:spcPct val="100000"/>
                </a:lnSpc>
                <a:spcBef>
                  <a:spcPts val="0"/>
                </a:spcBef>
                <a:spcAft>
                  <a:spcPts val="0"/>
                </a:spcAft>
                <a:buClrTx/>
                <a:buSzTx/>
                <a:buFontTx/>
                <a:buNone/>
                <a:tabLst/>
                <a:defRPr/>
              </a:pPr>
              <a:r>
                <a:rPr lang="en-US" sz="1100">
                  <a:solidFill>
                    <a:schemeClr val="tx2"/>
                  </a:solidFill>
                </a:rPr>
                <a:t>6</a:t>
              </a:r>
              <a:endParaRPr kumimoji="0" lang="en-US" sz="1100" i="0" u="none" strike="noStrike" kern="1200" cap="none" spc="0" normalizeH="0" baseline="0" noProof="0">
                <a:ln>
                  <a:noFill/>
                </a:ln>
                <a:solidFill>
                  <a:schemeClr val="tx2"/>
                </a:solidFill>
                <a:effectLst/>
                <a:uLnTx/>
                <a:uFillTx/>
              </a:endParaRPr>
            </a:p>
          </p:txBody>
        </p:sp>
        <p:sp>
          <p:nvSpPr>
            <p:cNvPr id="50" name="Oval 20">
              <a:extLst>
                <a:ext uri="{FF2B5EF4-FFF2-40B4-BE49-F238E27FC236}">
                  <a16:creationId xmlns:a16="http://schemas.microsoft.com/office/drawing/2014/main" id="{0717B9AA-917A-EDD6-CAB5-8B7242F835F2}"/>
                </a:ext>
              </a:extLst>
            </p:cNvPr>
            <p:cNvSpPr>
              <a:spLocks noChangeAspect="1" noChangeArrowheads="1"/>
            </p:cNvSpPr>
            <p:nvPr/>
          </p:nvSpPr>
          <p:spPr bwMode="auto">
            <a:xfrm>
              <a:off x="4671456" y="4963651"/>
              <a:ext cx="274320" cy="27432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R="0" lvl="0" algn="ctr" defTabSz="914400" rtl="0" eaLnBrk="1" fontAlgn="auto" latinLnBrk="0" hangingPunct="1">
                <a:lnSpc>
                  <a:spcPct val="100000"/>
                </a:lnSpc>
                <a:spcBef>
                  <a:spcPts val="0"/>
                </a:spcBef>
                <a:spcAft>
                  <a:spcPts val="0"/>
                </a:spcAft>
                <a:buClrTx/>
                <a:buSzTx/>
                <a:buFontTx/>
                <a:buNone/>
                <a:tabLst/>
                <a:defRPr/>
              </a:pPr>
              <a:r>
                <a:rPr lang="en-US" sz="1100">
                  <a:solidFill>
                    <a:schemeClr val="tx2"/>
                  </a:solidFill>
                </a:rPr>
                <a:t>7</a:t>
              </a:r>
              <a:endParaRPr kumimoji="0" lang="en-US" sz="1100" i="0" u="none" strike="noStrike" kern="1200" cap="none" spc="0" normalizeH="0" baseline="0" noProof="0">
                <a:ln>
                  <a:noFill/>
                </a:ln>
                <a:solidFill>
                  <a:schemeClr val="tx2"/>
                </a:solidFill>
                <a:effectLst/>
                <a:uLnTx/>
                <a:uFillTx/>
              </a:endParaRPr>
            </a:p>
          </p:txBody>
        </p:sp>
      </p:grpSp>
      <p:sp>
        <p:nvSpPr>
          <p:cNvPr id="51" name="Rectangle 50">
            <a:extLst>
              <a:ext uri="{FF2B5EF4-FFF2-40B4-BE49-F238E27FC236}">
                <a16:creationId xmlns:a16="http://schemas.microsoft.com/office/drawing/2014/main" id="{2566B4D2-C0DC-1A9D-238F-C04181919210}"/>
              </a:ext>
            </a:extLst>
          </p:cNvPr>
          <p:cNvSpPr/>
          <p:nvPr/>
        </p:nvSpPr>
        <p:spPr>
          <a:xfrm>
            <a:off x="7000875" y="1639090"/>
            <a:ext cx="4410075" cy="215444"/>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19050" cap="flat" cmpd="sng" algn="ctr">
                <a:solidFill>
                  <a:srgbClr val="9C1A2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a:ln>
                  <a:noFill/>
                </a:ln>
                <a:solidFill>
                  <a:srgbClr val="00598E"/>
                </a:solidFill>
                <a:effectLst/>
                <a:uLnTx/>
                <a:uFillTx/>
              </a:rPr>
              <a:t>Private 5G (</a:t>
            </a:r>
            <a:r>
              <a:rPr kumimoji="0" lang="en-US" sz="1400" u="none" strike="noStrike" kern="1200" cap="none" spc="0" normalizeH="0" baseline="0" noProof="0" err="1">
                <a:ln>
                  <a:noFill/>
                </a:ln>
                <a:solidFill>
                  <a:srgbClr val="00598E"/>
                </a:solidFill>
                <a:effectLst/>
                <a:uLnTx/>
                <a:uFillTx/>
              </a:rPr>
              <a:t>CNPN</a:t>
            </a:r>
            <a:r>
              <a:rPr kumimoji="0" lang="en-US" sz="1400" u="none" strike="noStrike" kern="1200" cap="none" spc="0" normalizeH="0" baseline="0" noProof="0">
                <a:ln>
                  <a:noFill/>
                </a:ln>
                <a:solidFill>
                  <a:srgbClr val="00598E"/>
                </a:solidFill>
                <a:effectLst/>
                <a:uLnTx/>
                <a:uFillTx/>
              </a:rPr>
              <a:t>)</a:t>
            </a:r>
          </a:p>
        </p:txBody>
      </p:sp>
      <p:sp>
        <p:nvSpPr>
          <p:cNvPr id="52" name="Rectangle 51">
            <a:extLst>
              <a:ext uri="{FF2B5EF4-FFF2-40B4-BE49-F238E27FC236}">
                <a16:creationId xmlns:a16="http://schemas.microsoft.com/office/drawing/2014/main" id="{BC228F82-67FC-A461-9A66-75E5EE9276BE}"/>
              </a:ext>
            </a:extLst>
          </p:cNvPr>
          <p:cNvSpPr/>
          <p:nvPr/>
        </p:nvSpPr>
        <p:spPr>
          <a:xfrm>
            <a:off x="7000875" y="1880434"/>
            <a:ext cx="4410075" cy="36933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19050" cap="flat" cmpd="sng" algn="ctr">
                <a:solidFill>
                  <a:srgbClr val="9C1A2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buClr>
                <a:srgbClr val="0DA3E2"/>
              </a:buClr>
              <a:buFont typeface="Trebuchet MS" panose="020B0603020202020204" pitchFamily="34" charset="0"/>
              <a:buChar char="​"/>
              <a:defRPr/>
            </a:pPr>
            <a:r>
              <a:rPr lang="en-US" sz="1200">
                <a:solidFill>
                  <a:srgbClr val="333333"/>
                </a:solidFill>
              </a:rPr>
              <a:t>First of its kind-Safe, efficient, &amp; secure connectivity for India’s enterprises using 5G technology</a:t>
            </a:r>
          </a:p>
        </p:txBody>
      </p:sp>
      <p:sp>
        <p:nvSpPr>
          <p:cNvPr id="53" name="Rectangle 52">
            <a:extLst>
              <a:ext uri="{FF2B5EF4-FFF2-40B4-BE49-F238E27FC236}">
                <a16:creationId xmlns:a16="http://schemas.microsoft.com/office/drawing/2014/main" id="{C0D3C83D-EBFE-129B-EF47-4E7AA239F5F2}"/>
              </a:ext>
            </a:extLst>
          </p:cNvPr>
          <p:cNvSpPr/>
          <p:nvPr/>
        </p:nvSpPr>
        <p:spPr>
          <a:xfrm>
            <a:off x="7000875" y="2301566"/>
            <a:ext cx="4410075" cy="215444"/>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19050" cap="flat" cmpd="sng" algn="ctr">
                <a:solidFill>
                  <a:srgbClr val="9C1A2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a:ln>
                  <a:noFill/>
                </a:ln>
                <a:solidFill>
                  <a:srgbClr val="00598E"/>
                </a:solidFill>
                <a:effectLst/>
                <a:uLnTx/>
                <a:uFillTx/>
              </a:rPr>
              <a:t>SpaceX, powered by BSNL</a:t>
            </a:r>
          </a:p>
        </p:txBody>
      </p:sp>
      <p:sp>
        <p:nvSpPr>
          <p:cNvPr id="54" name="Rectangle 53">
            <a:extLst>
              <a:ext uri="{FF2B5EF4-FFF2-40B4-BE49-F238E27FC236}">
                <a16:creationId xmlns:a16="http://schemas.microsoft.com/office/drawing/2014/main" id="{1B5B5673-82DB-0AAC-18B2-38D3AB42363D}"/>
              </a:ext>
            </a:extLst>
          </p:cNvPr>
          <p:cNvSpPr/>
          <p:nvPr/>
        </p:nvSpPr>
        <p:spPr>
          <a:xfrm>
            <a:off x="7000875" y="2542910"/>
            <a:ext cx="4410075" cy="36933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19050" cap="flat" cmpd="sng" algn="ctr">
                <a:solidFill>
                  <a:srgbClr val="9C1A2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buClr>
                <a:srgbClr val="0DA3E2"/>
              </a:buClr>
              <a:buFont typeface="Trebuchet MS" panose="020B0603020202020204" pitchFamily="34" charset="0"/>
              <a:buChar char="​"/>
              <a:defRPr/>
            </a:pPr>
            <a:r>
              <a:rPr kumimoji="0" lang="en-US" sz="1200" u="none" strike="noStrike" kern="1200" cap="none" spc="0" normalizeH="0" baseline="0" noProof="0">
                <a:ln>
                  <a:noFill/>
                </a:ln>
                <a:solidFill>
                  <a:srgbClr val="333333"/>
                </a:solidFill>
                <a:effectLst/>
                <a:uLnTx/>
                <a:uFillTx/>
              </a:rPr>
              <a:t>Strategic collaboration to establish robust ground infrastructure, unlocking new satellite-driven connectivity</a:t>
            </a:r>
          </a:p>
        </p:txBody>
      </p:sp>
      <p:sp>
        <p:nvSpPr>
          <p:cNvPr id="55" name="Rectangle 54">
            <a:extLst>
              <a:ext uri="{FF2B5EF4-FFF2-40B4-BE49-F238E27FC236}">
                <a16:creationId xmlns:a16="http://schemas.microsoft.com/office/drawing/2014/main" id="{1C708315-ACF3-4BCA-A6DA-E48C7B811DE1}"/>
              </a:ext>
            </a:extLst>
          </p:cNvPr>
          <p:cNvSpPr/>
          <p:nvPr/>
        </p:nvSpPr>
        <p:spPr>
          <a:xfrm>
            <a:off x="7000875" y="4288994"/>
            <a:ext cx="4410075" cy="215444"/>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19050" cap="flat" cmpd="sng" algn="ctr">
                <a:solidFill>
                  <a:srgbClr val="9C1A2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a:ln>
                  <a:noFill/>
                </a:ln>
                <a:solidFill>
                  <a:srgbClr val="00598E"/>
                </a:solidFill>
                <a:effectLst/>
                <a:uLnTx/>
                <a:uFillTx/>
              </a:rPr>
              <a:t>Data Center</a:t>
            </a:r>
          </a:p>
        </p:txBody>
      </p:sp>
      <p:sp>
        <p:nvSpPr>
          <p:cNvPr id="56" name="Rectangle 55">
            <a:extLst>
              <a:ext uri="{FF2B5EF4-FFF2-40B4-BE49-F238E27FC236}">
                <a16:creationId xmlns:a16="http://schemas.microsoft.com/office/drawing/2014/main" id="{4A70E67C-AC71-9357-AF39-418079F19227}"/>
              </a:ext>
            </a:extLst>
          </p:cNvPr>
          <p:cNvSpPr/>
          <p:nvPr/>
        </p:nvSpPr>
        <p:spPr>
          <a:xfrm>
            <a:off x="7000875" y="4530338"/>
            <a:ext cx="4410075" cy="36933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19050" cap="flat" cmpd="sng" algn="ctr">
                <a:solidFill>
                  <a:srgbClr val="9C1A2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buClr>
                <a:srgbClr val="0DA3E2"/>
              </a:buClr>
              <a:buFont typeface="Trebuchet MS" panose="020B0603020202020204" pitchFamily="34" charset="0"/>
              <a:buChar char="​"/>
              <a:defRPr/>
            </a:pPr>
            <a:r>
              <a:rPr lang="en-US" sz="1200">
                <a:solidFill>
                  <a:srgbClr val="333333"/>
                </a:solidFill>
              </a:rPr>
              <a:t>Scaling digital infrastructure for demand</a:t>
            </a:r>
            <a:endParaRPr kumimoji="0" lang="en-US" sz="1200" u="none" strike="noStrike" kern="1200" cap="none" spc="0" normalizeH="0" baseline="0" noProof="0">
              <a:ln>
                <a:noFill/>
              </a:ln>
              <a:solidFill>
                <a:srgbClr val="333333"/>
              </a:solidFill>
              <a:effectLst/>
              <a:uLnTx/>
              <a:uFillTx/>
            </a:endParaRPr>
          </a:p>
        </p:txBody>
      </p:sp>
      <p:sp>
        <p:nvSpPr>
          <p:cNvPr id="57" name="Rectangle 56">
            <a:extLst>
              <a:ext uri="{FF2B5EF4-FFF2-40B4-BE49-F238E27FC236}">
                <a16:creationId xmlns:a16="http://schemas.microsoft.com/office/drawing/2014/main" id="{6F17DDC2-943A-E2A0-7C8D-920BFEDC153D}"/>
              </a:ext>
            </a:extLst>
          </p:cNvPr>
          <p:cNvSpPr/>
          <p:nvPr/>
        </p:nvSpPr>
        <p:spPr>
          <a:xfrm>
            <a:off x="7000875" y="2964042"/>
            <a:ext cx="4410075" cy="215444"/>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19050" cap="flat" cmpd="sng" algn="ctr">
                <a:solidFill>
                  <a:srgbClr val="9C1A2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a:ln>
                  <a:noFill/>
                </a:ln>
                <a:solidFill>
                  <a:srgbClr val="00598E"/>
                </a:solidFill>
                <a:effectLst/>
                <a:uLnTx/>
                <a:uFillTx/>
                <a:ea typeface="+mn-ea"/>
                <a:cs typeface="+mn-cs"/>
              </a:rPr>
              <a:t>5G FWA for Enterprise</a:t>
            </a:r>
          </a:p>
        </p:txBody>
      </p:sp>
      <p:sp>
        <p:nvSpPr>
          <p:cNvPr id="64" name="Rectangle 63">
            <a:extLst>
              <a:ext uri="{FF2B5EF4-FFF2-40B4-BE49-F238E27FC236}">
                <a16:creationId xmlns:a16="http://schemas.microsoft.com/office/drawing/2014/main" id="{CACD3103-2D69-F8A6-A4FB-0F4AA7E72889}"/>
              </a:ext>
            </a:extLst>
          </p:cNvPr>
          <p:cNvSpPr/>
          <p:nvPr/>
        </p:nvSpPr>
        <p:spPr>
          <a:xfrm>
            <a:off x="7000875" y="3205386"/>
            <a:ext cx="4410075" cy="369332"/>
          </a:xfrm>
          <a:prstGeom prst="rect">
            <a:avLst/>
          </a:prstGeom>
          <a:noFill/>
          <a:ln w="190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buClr>
                <a:srgbClr val="0DA3E2"/>
              </a:buClr>
              <a:buFont typeface="Trebuchet MS" panose="020B0603020202020204" pitchFamily="34" charset="0"/>
              <a:buChar char="​"/>
              <a:defRPr/>
            </a:pPr>
            <a:r>
              <a:rPr lang="en-US" sz="1200">
                <a:solidFill>
                  <a:srgbClr val="333333"/>
                </a:solidFill>
              </a:rPr>
              <a:t>Launching Quantum 5G FWA to deliver SIM-less connectivity with fiber-like speeds, empowering India's digital transformation</a:t>
            </a:r>
          </a:p>
        </p:txBody>
      </p:sp>
      <p:sp>
        <p:nvSpPr>
          <p:cNvPr id="59" name="Rectangle 58">
            <a:extLst>
              <a:ext uri="{FF2B5EF4-FFF2-40B4-BE49-F238E27FC236}">
                <a16:creationId xmlns:a16="http://schemas.microsoft.com/office/drawing/2014/main" id="{52B66503-F89A-F83B-47FA-41CC1AC5756D}"/>
              </a:ext>
            </a:extLst>
          </p:cNvPr>
          <p:cNvSpPr/>
          <p:nvPr/>
        </p:nvSpPr>
        <p:spPr>
          <a:xfrm>
            <a:off x="7000875" y="4951470"/>
            <a:ext cx="4410075" cy="215444"/>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19050" cap="flat" cmpd="sng" algn="ctr">
                <a:solidFill>
                  <a:srgbClr val="9C1A2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a:ln>
                  <a:noFill/>
                </a:ln>
                <a:solidFill>
                  <a:srgbClr val="00598E"/>
                </a:solidFill>
                <a:effectLst/>
                <a:uLnTx/>
                <a:uFillTx/>
              </a:rPr>
              <a:t>Security Solutions</a:t>
            </a:r>
          </a:p>
        </p:txBody>
      </p:sp>
      <p:sp>
        <p:nvSpPr>
          <p:cNvPr id="60" name="Rectangle 59">
            <a:extLst>
              <a:ext uri="{FF2B5EF4-FFF2-40B4-BE49-F238E27FC236}">
                <a16:creationId xmlns:a16="http://schemas.microsoft.com/office/drawing/2014/main" id="{CE891E02-B5F1-42AA-ACD5-ADA1D2940B5A}"/>
              </a:ext>
            </a:extLst>
          </p:cNvPr>
          <p:cNvSpPr/>
          <p:nvPr/>
        </p:nvSpPr>
        <p:spPr>
          <a:xfrm>
            <a:off x="7000875" y="5177425"/>
            <a:ext cx="4410075" cy="36933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19050" cap="flat" cmpd="sng" algn="ctr">
                <a:solidFill>
                  <a:srgbClr val="9C1A2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Clr>
                <a:srgbClr val="0DA3E2"/>
              </a:buClr>
              <a:buFont typeface="Trebuchet MS" panose="020B0603020202020204" pitchFamily="34" charset="0"/>
              <a:buChar char="​"/>
              <a:defRPr/>
            </a:pPr>
            <a:r>
              <a:rPr kumimoji="0" lang="en-US" sz="1200" u="none" strike="noStrike" kern="1200" cap="none" spc="-20" normalizeH="0" baseline="0" noProof="0">
                <a:ln>
                  <a:noFill/>
                </a:ln>
                <a:solidFill>
                  <a:srgbClr val="333333"/>
                </a:solidFill>
                <a:effectLst/>
                <a:uLnTx/>
                <a:uFillTx/>
              </a:rPr>
              <a:t>Offering state of the art solutions to protect critical telecom infrastructure and ensure trusted communications nationwide</a:t>
            </a:r>
          </a:p>
        </p:txBody>
      </p:sp>
      <p:sp>
        <p:nvSpPr>
          <p:cNvPr id="61" name="Rectangle 60">
            <a:extLst>
              <a:ext uri="{FF2B5EF4-FFF2-40B4-BE49-F238E27FC236}">
                <a16:creationId xmlns:a16="http://schemas.microsoft.com/office/drawing/2014/main" id="{C632925E-BECF-ABD5-5BC4-3FCE3BFA7ED8}"/>
              </a:ext>
            </a:extLst>
          </p:cNvPr>
          <p:cNvSpPr/>
          <p:nvPr/>
        </p:nvSpPr>
        <p:spPr>
          <a:xfrm>
            <a:off x="7000875" y="5583168"/>
            <a:ext cx="4410075" cy="215444"/>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19050" cap="flat" cmpd="sng" algn="ctr">
                <a:solidFill>
                  <a:srgbClr val="9C1A2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a:ln>
                  <a:noFill/>
                </a:ln>
                <a:solidFill>
                  <a:srgbClr val="00598E"/>
                </a:solidFill>
                <a:effectLst/>
                <a:uLnTx/>
                <a:uFillTx/>
              </a:rPr>
              <a:t>Automation for next generation service</a:t>
            </a:r>
          </a:p>
        </p:txBody>
      </p:sp>
      <p:sp>
        <p:nvSpPr>
          <p:cNvPr id="62" name="Rectangle 61">
            <a:extLst>
              <a:ext uri="{FF2B5EF4-FFF2-40B4-BE49-F238E27FC236}">
                <a16:creationId xmlns:a16="http://schemas.microsoft.com/office/drawing/2014/main" id="{7EE637FC-FF71-143D-7758-F525EFBE317E}"/>
              </a:ext>
            </a:extLst>
          </p:cNvPr>
          <p:cNvSpPr/>
          <p:nvPr/>
        </p:nvSpPr>
        <p:spPr>
          <a:xfrm>
            <a:off x="7000875" y="5824513"/>
            <a:ext cx="4410075" cy="36933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19050" cap="flat" cmpd="sng" algn="ctr">
                <a:solidFill>
                  <a:srgbClr val="9C1A2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buClr>
                <a:srgbClr val="0DA3E2"/>
              </a:buClr>
              <a:buFont typeface="Trebuchet MS" panose="020B0603020202020204" pitchFamily="34" charset="0"/>
              <a:buChar char="​"/>
              <a:defRPr/>
            </a:pPr>
            <a:r>
              <a:rPr lang="en-US" sz="1200">
                <a:solidFill>
                  <a:srgbClr val="333333"/>
                </a:solidFill>
              </a:rPr>
              <a:t>Improving network intelligence and it's reliability &amp; efficiency</a:t>
            </a:r>
          </a:p>
        </p:txBody>
      </p:sp>
      <p:sp>
        <p:nvSpPr>
          <p:cNvPr id="63" name="Rectangle 62">
            <a:extLst>
              <a:ext uri="{FF2B5EF4-FFF2-40B4-BE49-F238E27FC236}">
                <a16:creationId xmlns:a16="http://schemas.microsoft.com/office/drawing/2014/main" id="{191EDB73-1993-B1AA-F437-419B9820967D}"/>
              </a:ext>
            </a:extLst>
          </p:cNvPr>
          <p:cNvSpPr/>
          <p:nvPr/>
        </p:nvSpPr>
        <p:spPr>
          <a:xfrm>
            <a:off x="7000875" y="3626518"/>
            <a:ext cx="4410075" cy="215444"/>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19050" cap="flat" cmpd="sng" algn="ctr">
                <a:solidFill>
                  <a:srgbClr val="9C1A2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0"/>
              </a:spcBef>
              <a:spcAft>
                <a:spcPts val="0"/>
              </a:spcAft>
              <a:buClrTx/>
              <a:buSzTx/>
              <a:buFontTx/>
              <a:buNone/>
              <a:tabLst/>
              <a:defRPr/>
            </a:pPr>
            <a:r>
              <a:rPr lang="en-US" sz="1400">
                <a:solidFill>
                  <a:srgbClr val="00598E"/>
                </a:solidFill>
              </a:rPr>
              <a:t>5G </a:t>
            </a:r>
            <a:r>
              <a:rPr lang="en-US" sz="1400" err="1">
                <a:solidFill>
                  <a:srgbClr val="00598E"/>
                </a:solidFill>
              </a:rPr>
              <a:t>NaaS</a:t>
            </a:r>
            <a:r>
              <a:rPr lang="en-US" sz="1400">
                <a:solidFill>
                  <a:srgbClr val="00598E"/>
                </a:solidFill>
              </a:rPr>
              <a:t> &amp; Hotspots</a:t>
            </a:r>
          </a:p>
        </p:txBody>
      </p:sp>
      <p:sp>
        <p:nvSpPr>
          <p:cNvPr id="58" name="Rectangle 57">
            <a:extLst>
              <a:ext uri="{FF2B5EF4-FFF2-40B4-BE49-F238E27FC236}">
                <a16:creationId xmlns:a16="http://schemas.microsoft.com/office/drawing/2014/main" id="{45C34894-EB07-F168-890A-C4FAC8EBD4C4}"/>
              </a:ext>
            </a:extLst>
          </p:cNvPr>
          <p:cNvSpPr/>
          <p:nvPr/>
        </p:nvSpPr>
        <p:spPr>
          <a:xfrm>
            <a:off x="7000875" y="3867862"/>
            <a:ext cx="4410075" cy="369332"/>
          </a:xfrm>
          <a:prstGeom prst="rect">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19050" cap="flat" cmpd="sng" algn="ctr">
                <a:solidFill>
                  <a:srgbClr val="9C1A2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buClr>
                <a:srgbClr val="0DA3E2"/>
              </a:buClr>
              <a:buFont typeface="Trebuchet MS" panose="020B0603020202020204" pitchFamily="34" charset="0"/>
              <a:buChar char="​"/>
              <a:defRPr/>
            </a:pPr>
            <a:r>
              <a:rPr kumimoji="0" lang="en-US" sz="1200" u="none" strike="noStrike" kern="1200" cap="none" spc="0" normalizeH="0" baseline="0" noProof="0">
                <a:ln>
                  <a:noFill/>
                </a:ln>
                <a:solidFill>
                  <a:srgbClr val="333333"/>
                </a:solidFill>
                <a:effectLst/>
                <a:uLnTx/>
                <a:uFillTx/>
              </a:rPr>
              <a:t>Boosting backbone for business use, Expanding next-gen network capabilities</a:t>
            </a:r>
          </a:p>
        </p:txBody>
      </p:sp>
      <p:cxnSp>
        <p:nvCxnSpPr>
          <p:cNvPr id="65" name="Straight Connector 64">
            <a:extLst>
              <a:ext uri="{FF2B5EF4-FFF2-40B4-BE49-F238E27FC236}">
                <a16:creationId xmlns:a16="http://schemas.microsoft.com/office/drawing/2014/main" id="{4DD4BDBD-35AF-E65F-51A3-C4E3EBEDFE0F}"/>
              </a:ext>
            </a:extLst>
          </p:cNvPr>
          <p:cNvCxnSpPr/>
          <p:nvPr/>
        </p:nvCxnSpPr>
        <p:spPr>
          <a:xfrm>
            <a:off x="7000875" y="2275666"/>
            <a:ext cx="4410075"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5141142-9F36-AD44-2176-53ACDCB34FBD}"/>
              </a:ext>
            </a:extLst>
          </p:cNvPr>
          <p:cNvCxnSpPr/>
          <p:nvPr/>
        </p:nvCxnSpPr>
        <p:spPr>
          <a:xfrm>
            <a:off x="7000875" y="2938142"/>
            <a:ext cx="4410075"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EA643D2-A0EC-70A7-76AE-5DB39DBC8862}"/>
              </a:ext>
            </a:extLst>
          </p:cNvPr>
          <p:cNvCxnSpPr/>
          <p:nvPr/>
        </p:nvCxnSpPr>
        <p:spPr>
          <a:xfrm>
            <a:off x="6992350" y="4282765"/>
            <a:ext cx="4410075"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7384F54-E649-2572-FD42-D9B2E86A374D}"/>
              </a:ext>
            </a:extLst>
          </p:cNvPr>
          <p:cNvCxnSpPr/>
          <p:nvPr/>
        </p:nvCxnSpPr>
        <p:spPr>
          <a:xfrm>
            <a:off x="6988175" y="3602694"/>
            <a:ext cx="4410075"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5CBF833-8F92-8A4F-781C-D548D0562252}"/>
              </a:ext>
            </a:extLst>
          </p:cNvPr>
          <p:cNvCxnSpPr/>
          <p:nvPr/>
        </p:nvCxnSpPr>
        <p:spPr>
          <a:xfrm>
            <a:off x="7000875" y="4925570"/>
            <a:ext cx="4410075"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AB1B832-9879-2FF2-2FDB-6BAB2220BD44}"/>
              </a:ext>
            </a:extLst>
          </p:cNvPr>
          <p:cNvCxnSpPr/>
          <p:nvPr/>
        </p:nvCxnSpPr>
        <p:spPr>
          <a:xfrm>
            <a:off x="7000875" y="5557268"/>
            <a:ext cx="4410075"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503DFFB-5446-E358-1F6B-C74CF2266707}"/>
              </a:ext>
            </a:extLst>
          </p:cNvPr>
          <p:cNvGrpSpPr>
            <a:grpSpLocks noChangeAspect="1"/>
          </p:cNvGrpSpPr>
          <p:nvPr/>
        </p:nvGrpSpPr>
        <p:grpSpPr>
          <a:xfrm>
            <a:off x="843655" y="4487495"/>
            <a:ext cx="276219" cy="276219"/>
            <a:chOff x="1854516" y="3463925"/>
            <a:chExt cx="269875" cy="269875"/>
          </a:xfrm>
        </p:grpSpPr>
        <p:sp>
          <p:nvSpPr>
            <p:cNvPr id="72" name="Oval 14">
              <a:extLst>
                <a:ext uri="{FF2B5EF4-FFF2-40B4-BE49-F238E27FC236}">
                  <a16:creationId xmlns:a16="http://schemas.microsoft.com/office/drawing/2014/main" id="{84D74D1E-85F0-51AF-F376-E574D2265FCB}"/>
                </a:ext>
              </a:extLst>
            </p:cNvPr>
            <p:cNvSpPr>
              <a:spLocks noChangeArrowheads="1"/>
            </p:cNvSpPr>
            <p:nvPr/>
          </p:nvSpPr>
          <p:spPr bwMode="auto">
            <a:xfrm>
              <a:off x="1854516" y="3463925"/>
              <a:ext cx="269875" cy="269875"/>
            </a:xfrm>
            <a:prstGeom prst="ellipse">
              <a:avLst/>
            </a:prstGeom>
            <a:solidFill>
              <a:srgbClr val="7F7F7F">
                <a:lumMod val="100000"/>
              </a:srgbClr>
            </a:solidFill>
            <a:ln>
              <a:noFill/>
            </a:ln>
          </p:spPr>
          <p:txBody>
            <a:bodyPr vert="horz" wrap="square" lIns="82296" tIns="41148" rIns="82296" bIns="41148" numCol="1" anchor="t" anchorCtr="0" compatLnSpc="1">
              <a:prstTxWarp prst="textNoShape">
                <a:avLst/>
              </a:prstTxWarp>
            </a:bodyPr>
            <a:lstStyle/>
            <a:p>
              <a:endParaRPr lang="en-US">
                <a:solidFill>
                  <a:schemeClr val="bg1"/>
                </a:solidFill>
              </a:endParaRPr>
            </a:p>
          </p:txBody>
        </p:sp>
        <p:sp>
          <p:nvSpPr>
            <p:cNvPr id="73" name="Freeform 15">
              <a:extLst>
                <a:ext uri="{FF2B5EF4-FFF2-40B4-BE49-F238E27FC236}">
                  <a16:creationId xmlns:a16="http://schemas.microsoft.com/office/drawing/2014/main" id="{6ED77EEA-F33C-56F9-3826-8D74B7DDD9A1}"/>
                </a:ext>
              </a:extLst>
            </p:cNvPr>
            <p:cNvSpPr>
              <a:spLocks noEditPoints="1"/>
            </p:cNvSpPr>
            <p:nvPr/>
          </p:nvSpPr>
          <p:spPr bwMode="auto">
            <a:xfrm>
              <a:off x="1911666"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82296" tIns="41148" rIns="82296" bIns="41148" numCol="1" anchor="t" anchorCtr="0" compatLnSpc="1">
              <a:prstTxWarp prst="textNoShape">
                <a:avLst/>
              </a:prstTxWarp>
            </a:bodyPr>
            <a:lstStyle/>
            <a:p>
              <a:endParaRPr lang="en-US">
                <a:solidFill>
                  <a:schemeClr val="bg1"/>
                </a:solidFill>
              </a:endParaRPr>
            </a:p>
          </p:txBody>
        </p:sp>
      </p:grpSp>
      <p:grpSp>
        <p:nvGrpSpPr>
          <p:cNvPr id="74" name="Group 73">
            <a:extLst>
              <a:ext uri="{FF2B5EF4-FFF2-40B4-BE49-F238E27FC236}">
                <a16:creationId xmlns:a16="http://schemas.microsoft.com/office/drawing/2014/main" id="{209D2EF1-6BE9-95FC-B2A7-BEEA9565D806}"/>
              </a:ext>
            </a:extLst>
          </p:cNvPr>
          <p:cNvGrpSpPr>
            <a:grpSpLocks noChangeAspect="1"/>
          </p:cNvGrpSpPr>
          <p:nvPr/>
        </p:nvGrpSpPr>
        <p:grpSpPr>
          <a:xfrm>
            <a:off x="843655" y="5041883"/>
            <a:ext cx="276219" cy="276219"/>
            <a:chOff x="1854516" y="3463925"/>
            <a:chExt cx="269875" cy="269875"/>
          </a:xfrm>
        </p:grpSpPr>
        <p:sp>
          <p:nvSpPr>
            <p:cNvPr id="75" name="Oval 14">
              <a:extLst>
                <a:ext uri="{FF2B5EF4-FFF2-40B4-BE49-F238E27FC236}">
                  <a16:creationId xmlns:a16="http://schemas.microsoft.com/office/drawing/2014/main" id="{D0F2CC26-57AD-F1B8-F760-1093971EDA35}"/>
                </a:ext>
              </a:extLst>
            </p:cNvPr>
            <p:cNvSpPr>
              <a:spLocks noChangeArrowheads="1"/>
            </p:cNvSpPr>
            <p:nvPr/>
          </p:nvSpPr>
          <p:spPr bwMode="auto">
            <a:xfrm>
              <a:off x="1854516" y="3463925"/>
              <a:ext cx="269875" cy="269875"/>
            </a:xfrm>
            <a:prstGeom prst="ellipse">
              <a:avLst/>
            </a:prstGeom>
            <a:solidFill>
              <a:srgbClr val="7F7F7F">
                <a:lumMod val="100000"/>
              </a:srgbClr>
            </a:solidFill>
            <a:ln>
              <a:noFill/>
            </a:ln>
          </p:spPr>
          <p:txBody>
            <a:bodyPr vert="horz" wrap="square" lIns="82296" tIns="41148" rIns="82296" bIns="41148" numCol="1" anchor="t" anchorCtr="0" compatLnSpc="1">
              <a:prstTxWarp prst="textNoShape">
                <a:avLst/>
              </a:prstTxWarp>
            </a:bodyPr>
            <a:lstStyle/>
            <a:p>
              <a:endParaRPr lang="en-US">
                <a:solidFill>
                  <a:schemeClr val="bg1"/>
                </a:solidFill>
              </a:endParaRPr>
            </a:p>
          </p:txBody>
        </p:sp>
        <p:sp>
          <p:nvSpPr>
            <p:cNvPr id="76" name="Freeform 15">
              <a:extLst>
                <a:ext uri="{FF2B5EF4-FFF2-40B4-BE49-F238E27FC236}">
                  <a16:creationId xmlns:a16="http://schemas.microsoft.com/office/drawing/2014/main" id="{350FDEE7-00E9-DCB4-5430-ED45FC3F5DC3}"/>
                </a:ext>
              </a:extLst>
            </p:cNvPr>
            <p:cNvSpPr>
              <a:spLocks noEditPoints="1"/>
            </p:cNvSpPr>
            <p:nvPr/>
          </p:nvSpPr>
          <p:spPr bwMode="auto">
            <a:xfrm>
              <a:off x="1911666"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82296" tIns="41148" rIns="82296" bIns="41148" numCol="1" anchor="t" anchorCtr="0" compatLnSpc="1">
              <a:prstTxWarp prst="textNoShape">
                <a:avLst/>
              </a:prstTxWarp>
            </a:bodyPr>
            <a:lstStyle/>
            <a:p>
              <a:endParaRPr lang="en-US">
                <a:solidFill>
                  <a:schemeClr val="bg1"/>
                </a:solidFill>
              </a:endParaRPr>
            </a:p>
          </p:txBody>
        </p:sp>
      </p:grpSp>
      <p:grpSp>
        <p:nvGrpSpPr>
          <p:cNvPr id="77" name="Group 76">
            <a:extLst>
              <a:ext uri="{FF2B5EF4-FFF2-40B4-BE49-F238E27FC236}">
                <a16:creationId xmlns:a16="http://schemas.microsoft.com/office/drawing/2014/main" id="{122F46B6-63B5-9473-7654-613836A89D87}"/>
              </a:ext>
            </a:extLst>
          </p:cNvPr>
          <p:cNvGrpSpPr>
            <a:grpSpLocks noChangeAspect="1"/>
          </p:cNvGrpSpPr>
          <p:nvPr/>
        </p:nvGrpSpPr>
        <p:grpSpPr>
          <a:xfrm>
            <a:off x="843655" y="5596271"/>
            <a:ext cx="276219" cy="276219"/>
            <a:chOff x="1854516" y="3463925"/>
            <a:chExt cx="269875" cy="269875"/>
          </a:xfrm>
        </p:grpSpPr>
        <p:sp>
          <p:nvSpPr>
            <p:cNvPr id="78" name="Oval 14">
              <a:extLst>
                <a:ext uri="{FF2B5EF4-FFF2-40B4-BE49-F238E27FC236}">
                  <a16:creationId xmlns:a16="http://schemas.microsoft.com/office/drawing/2014/main" id="{12F66B46-4C0D-4A40-1987-830036D143E4}"/>
                </a:ext>
              </a:extLst>
            </p:cNvPr>
            <p:cNvSpPr>
              <a:spLocks noChangeArrowheads="1"/>
            </p:cNvSpPr>
            <p:nvPr/>
          </p:nvSpPr>
          <p:spPr bwMode="auto">
            <a:xfrm>
              <a:off x="1854516" y="3463925"/>
              <a:ext cx="269875" cy="269875"/>
            </a:xfrm>
            <a:prstGeom prst="ellipse">
              <a:avLst/>
            </a:prstGeom>
            <a:solidFill>
              <a:srgbClr val="7F7F7F">
                <a:lumMod val="100000"/>
              </a:srgbClr>
            </a:solidFill>
            <a:ln>
              <a:noFill/>
            </a:ln>
          </p:spPr>
          <p:txBody>
            <a:bodyPr vert="horz" wrap="square" lIns="82296" tIns="41148" rIns="82296" bIns="41148" numCol="1" anchor="t" anchorCtr="0" compatLnSpc="1">
              <a:prstTxWarp prst="textNoShape">
                <a:avLst/>
              </a:prstTxWarp>
            </a:bodyPr>
            <a:lstStyle/>
            <a:p>
              <a:endParaRPr lang="en-US">
                <a:solidFill>
                  <a:schemeClr val="bg1"/>
                </a:solidFill>
              </a:endParaRPr>
            </a:p>
          </p:txBody>
        </p:sp>
        <p:sp>
          <p:nvSpPr>
            <p:cNvPr id="79" name="Freeform 15">
              <a:extLst>
                <a:ext uri="{FF2B5EF4-FFF2-40B4-BE49-F238E27FC236}">
                  <a16:creationId xmlns:a16="http://schemas.microsoft.com/office/drawing/2014/main" id="{4545AA06-D475-AD72-D10F-E490364E43C6}"/>
                </a:ext>
              </a:extLst>
            </p:cNvPr>
            <p:cNvSpPr>
              <a:spLocks noEditPoints="1"/>
            </p:cNvSpPr>
            <p:nvPr/>
          </p:nvSpPr>
          <p:spPr bwMode="auto">
            <a:xfrm>
              <a:off x="1911666"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82296" tIns="41148" rIns="82296" bIns="41148" numCol="1" anchor="t" anchorCtr="0" compatLnSpc="1">
              <a:prstTxWarp prst="textNoShape">
                <a:avLst/>
              </a:prstTxWarp>
            </a:bodyPr>
            <a:lstStyle/>
            <a:p>
              <a:endParaRPr lang="en-US">
                <a:solidFill>
                  <a:schemeClr val="bg1"/>
                </a:solidFill>
              </a:endParaRPr>
            </a:p>
          </p:txBody>
        </p:sp>
      </p:grpSp>
      <p:sp>
        <p:nvSpPr>
          <p:cNvPr id="80" name="Rectangle 79">
            <a:extLst>
              <a:ext uri="{FF2B5EF4-FFF2-40B4-BE49-F238E27FC236}">
                <a16:creationId xmlns:a16="http://schemas.microsoft.com/office/drawing/2014/main" id="{A0D07911-F81C-2964-BCF8-E9E7A7E82461}"/>
              </a:ext>
            </a:extLst>
          </p:cNvPr>
          <p:cNvSpPr/>
          <p:nvPr/>
        </p:nvSpPr>
        <p:spPr>
          <a:xfrm>
            <a:off x="6315075" y="1639090"/>
            <a:ext cx="581026" cy="610676"/>
          </a:xfrm>
          <a:prstGeom prst="rect">
            <a:avLst/>
          </a:prstGeom>
          <a:solidFill>
            <a:srgbClr val="00598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1" name="Rectangle 80">
            <a:extLst>
              <a:ext uri="{FF2B5EF4-FFF2-40B4-BE49-F238E27FC236}">
                <a16:creationId xmlns:a16="http://schemas.microsoft.com/office/drawing/2014/main" id="{81A9E123-7072-4EE0-CACB-3949BEE35208}"/>
              </a:ext>
            </a:extLst>
          </p:cNvPr>
          <p:cNvSpPr/>
          <p:nvPr/>
        </p:nvSpPr>
        <p:spPr>
          <a:xfrm>
            <a:off x="6315075" y="2296436"/>
            <a:ext cx="581026" cy="610676"/>
          </a:xfrm>
          <a:prstGeom prst="rect">
            <a:avLst/>
          </a:prstGeom>
          <a:solidFill>
            <a:srgbClr val="00598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2" name="Rectangle 81">
            <a:extLst>
              <a:ext uri="{FF2B5EF4-FFF2-40B4-BE49-F238E27FC236}">
                <a16:creationId xmlns:a16="http://schemas.microsoft.com/office/drawing/2014/main" id="{27EA0FBA-118F-9E0B-0B6A-404AB5800CA9}"/>
              </a:ext>
            </a:extLst>
          </p:cNvPr>
          <p:cNvSpPr/>
          <p:nvPr/>
        </p:nvSpPr>
        <p:spPr>
          <a:xfrm>
            <a:off x="6315075" y="2953782"/>
            <a:ext cx="581026" cy="610676"/>
          </a:xfrm>
          <a:prstGeom prst="rect">
            <a:avLst/>
          </a:prstGeom>
          <a:solidFill>
            <a:srgbClr val="00598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3" name="Rectangle 82">
            <a:extLst>
              <a:ext uri="{FF2B5EF4-FFF2-40B4-BE49-F238E27FC236}">
                <a16:creationId xmlns:a16="http://schemas.microsoft.com/office/drawing/2014/main" id="{5A0552DA-E192-40FA-891C-5CF81D05366C}"/>
              </a:ext>
            </a:extLst>
          </p:cNvPr>
          <p:cNvSpPr/>
          <p:nvPr/>
        </p:nvSpPr>
        <p:spPr>
          <a:xfrm>
            <a:off x="6315075" y="3611128"/>
            <a:ext cx="581026" cy="610676"/>
          </a:xfrm>
          <a:prstGeom prst="rect">
            <a:avLst/>
          </a:prstGeom>
          <a:solidFill>
            <a:srgbClr val="00598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4" name="Rectangle 83">
            <a:extLst>
              <a:ext uri="{FF2B5EF4-FFF2-40B4-BE49-F238E27FC236}">
                <a16:creationId xmlns:a16="http://schemas.microsoft.com/office/drawing/2014/main" id="{6F777EF7-509C-77E5-73EA-7B6134CED7C0}"/>
              </a:ext>
            </a:extLst>
          </p:cNvPr>
          <p:cNvSpPr/>
          <p:nvPr/>
        </p:nvSpPr>
        <p:spPr>
          <a:xfrm>
            <a:off x="6315075" y="4268474"/>
            <a:ext cx="581026" cy="610676"/>
          </a:xfrm>
          <a:prstGeom prst="rect">
            <a:avLst/>
          </a:prstGeom>
          <a:solidFill>
            <a:srgbClr val="00598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5" name="Rectangle 84">
            <a:extLst>
              <a:ext uri="{FF2B5EF4-FFF2-40B4-BE49-F238E27FC236}">
                <a16:creationId xmlns:a16="http://schemas.microsoft.com/office/drawing/2014/main" id="{EE401AA8-575B-76E0-866C-E0A4F771D8B1}"/>
              </a:ext>
            </a:extLst>
          </p:cNvPr>
          <p:cNvSpPr/>
          <p:nvPr/>
        </p:nvSpPr>
        <p:spPr>
          <a:xfrm>
            <a:off x="6315075" y="4925820"/>
            <a:ext cx="581026" cy="610676"/>
          </a:xfrm>
          <a:prstGeom prst="rect">
            <a:avLst/>
          </a:prstGeom>
          <a:solidFill>
            <a:srgbClr val="00598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6" name="Rectangle 85">
            <a:extLst>
              <a:ext uri="{FF2B5EF4-FFF2-40B4-BE49-F238E27FC236}">
                <a16:creationId xmlns:a16="http://schemas.microsoft.com/office/drawing/2014/main" id="{554290C4-2E11-0A2C-A8DD-022F6C366935}"/>
              </a:ext>
            </a:extLst>
          </p:cNvPr>
          <p:cNvSpPr/>
          <p:nvPr/>
        </p:nvSpPr>
        <p:spPr>
          <a:xfrm>
            <a:off x="6315075" y="5583168"/>
            <a:ext cx="581026" cy="610676"/>
          </a:xfrm>
          <a:prstGeom prst="rect">
            <a:avLst/>
          </a:prstGeom>
          <a:solidFill>
            <a:srgbClr val="00598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nvGrpSpPr>
          <p:cNvPr id="87" name="bcgIcons_Internet of Things and Sensors ">
            <a:extLst>
              <a:ext uri="{FF2B5EF4-FFF2-40B4-BE49-F238E27FC236}">
                <a16:creationId xmlns:a16="http://schemas.microsoft.com/office/drawing/2014/main" id="{3B145014-FFE9-3FE5-18BE-C6771F43D901}"/>
              </a:ext>
            </a:extLst>
          </p:cNvPr>
          <p:cNvGrpSpPr>
            <a:grpSpLocks noChangeAspect="1"/>
          </p:cNvGrpSpPr>
          <p:nvPr/>
        </p:nvGrpSpPr>
        <p:grpSpPr bwMode="auto">
          <a:xfrm>
            <a:off x="6436008" y="1774691"/>
            <a:ext cx="339160" cy="339475"/>
            <a:chOff x="1682" y="0"/>
            <a:chExt cx="4316" cy="4320"/>
          </a:xfrm>
        </p:grpSpPr>
        <p:sp>
          <p:nvSpPr>
            <p:cNvPr id="88" name="AutoShape 34">
              <a:extLst>
                <a:ext uri="{FF2B5EF4-FFF2-40B4-BE49-F238E27FC236}">
                  <a16:creationId xmlns:a16="http://schemas.microsoft.com/office/drawing/2014/main" id="{3260467F-715E-D34B-E107-39E75FE8EA01}"/>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6">
              <a:extLst>
                <a:ext uri="{FF2B5EF4-FFF2-40B4-BE49-F238E27FC236}">
                  <a16:creationId xmlns:a16="http://schemas.microsoft.com/office/drawing/2014/main" id="{2616B6E9-A36B-7872-E4DE-14B922F67188}"/>
                </a:ext>
              </a:extLst>
            </p:cNvPr>
            <p:cNvSpPr>
              <a:spLocks noEditPoints="1"/>
            </p:cNvSpPr>
            <p:nvPr/>
          </p:nvSpPr>
          <p:spPr bwMode="auto">
            <a:xfrm>
              <a:off x="2227" y="632"/>
              <a:ext cx="3230" cy="3240"/>
            </a:xfrm>
            <a:custGeom>
              <a:avLst/>
              <a:gdLst>
                <a:gd name="T0" fmla="*/ 352 w 1724"/>
                <a:gd name="T1" fmla="*/ 578 h 1728"/>
                <a:gd name="T2" fmla="*/ 795 w 1724"/>
                <a:gd name="T3" fmla="*/ 356 h 1728"/>
                <a:gd name="T4" fmla="*/ 795 w 1724"/>
                <a:gd name="T5" fmla="*/ 400 h 1728"/>
                <a:gd name="T6" fmla="*/ 391 w 1724"/>
                <a:gd name="T7" fmla="*/ 601 h 1728"/>
                <a:gd name="T8" fmla="*/ 352 w 1724"/>
                <a:gd name="T9" fmla="*/ 578 h 1728"/>
                <a:gd name="T10" fmla="*/ 927 w 1724"/>
                <a:gd name="T11" fmla="*/ 400 h 1728"/>
                <a:gd name="T12" fmla="*/ 1331 w 1724"/>
                <a:gd name="T13" fmla="*/ 602 h 1728"/>
                <a:gd name="T14" fmla="*/ 1370 w 1724"/>
                <a:gd name="T15" fmla="*/ 579 h 1728"/>
                <a:gd name="T16" fmla="*/ 927 w 1724"/>
                <a:gd name="T17" fmla="*/ 356 h 1728"/>
                <a:gd name="T18" fmla="*/ 927 w 1724"/>
                <a:gd name="T19" fmla="*/ 400 h 1728"/>
                <a:gd name="T20" fmla="*/ 1412 w 1724"/>
                <a:gd name="T21" fmla="*/ 707 h 1728"/>
                <a:gd name="T22" fmla="*/ 1505 w 1724"/>
                <a:gd name="T23" fmla="*/ 1041 h 1728"/>
                <a:gd name="T24" fmla="*/ 861 w 1724"/>
                <a:gd name="T25" fmla="*/ 1684 h 1728"/>
                <a:gd name="T26" fmla="*/ 217 w 1724"/>
                <a:gd name="T27" fmla="*/ 1041 h 1728"/>
                <a:gd name="T28" fmla="*/ 310 w 1724"/>
                <a:gd name="T29" fmla="*/ 707 h 1728"/>
                <a:gd name="T30" fmla="*/ 273 w 1724"/>
                <a:gd name="T31" fmla="*/ 685 h 1728"/>
                <a:gd name="T32" fmla="*/ 173 w 1724"/>
                <a:gd name="T33" fmla="*/ 1041 h 1728"/>
                <a:gd name="T34" fmla="*/ 861 w 1724"/>
                <a:gd name="T35" fmla="*/ 1728 h 1728"/>
                <a:gd name="T36" fmla="*/ 1549 w 1724"/>
                <a:gd name="T37" fmla="*/ 1041 h 1728"/>
                <a:gd name="T38" fmla="*/ 1449 w 1724"/>
                <a:gd name="T39" fmla="*/ 685 h 1728"/>
                <a:gd name="T40" fmla="*/ 1412 w 1724"/>
                <a:gd name="T41" fmla="*/ 707 h 1728"/>
                <a:gd name="T42" fmla="*/ 687 w 1724"/>
                <a:gd name="T43" fmla="*/ 738 h 1728"/>
                <a:gd name="T44" fmla="*/ 617 w 1724"/>
                <a:gd name="T45" fmla="*/ 809 h 1728"/>
                <a:gd name="T46" fmla="*/ 687 w 1724"/>
                <a:gd name="T47" fmla="*/ 879 h 1728"/>
                <a:gd name="T48" fmla="*/ 757 w 1724"/>
                <a:gd name="T49" fmla="*/ 809 h 1728"/>
                <a:gd name="T50" fmla="*/ 687 w 1724"/>
                <a:gd name="T51" fmla="*/ 738 h 1728"/>
                <a:gd name="T52" fmla="*/ 1062 w 1724"/>
                <a:gd name="T53" fmla="*/ 970 h 1728"/>
                <a:gd name="T54" fmla="*/ 992 w 1724"/>
                <a:gd name="T55" fmla="*/ 1041 h 1728"/>
                <a:gd name="T56" fmla="*/ 1062 w 1724"/>
                <a:gd name="T57" fmla="*/ 1111 h 1728"/>
                <a:gd name="T58" fmla="*/ 1133 w 1724"/>
                <a:gd name="T59" fmla="*/ 1041 h 1728"/>
                <a:gd name="T60" fmla="*/ 1062 w 1724"/>
                <a:gd name="T61" fmla="*/ 970 h 1728"/>
                <a:gd name="T62" fmla="*/ 861 w 1724"/>
                <a:gd name="T63" fmla="*/ 198 h 1728"/>
                <a:gd name="T64" fmla="*/ 947 w 1724"/>
                <a:gd name="T65" fmla="*/ 149 h 1728"/>
                <a:gd name="T66" fmla="*/ 947 w 1724"/>
                <a:gd name="T67" fmla="*/ 49 h 1728"/>
                <a:gd name="T68" fmla="*/ 861 w 1724"/>
                <a:gd name="T69" fmla="*/ 0 h 1728"/>
                <a:gd name="T70" fmla="*/ 775 w 1724"/>
                <a:gd name="T71" fmla="*/ 49 h 1728"/>
                <a:gd name="T72" fmla="*/ 775 w 1724"/>
                <a:gd name="T73" fmla="*/ 149 h 1728"/>
                <a:gd name="T74" fmla="*/ 861 w 1724"/>
                <a:gd name="T75" fmla="*/ 198 h 1728"/>
                <a:gd name="T76" fmla="*/ 1638 w 1724"/>
                <a:gd name="T77" fmla="*/ 598 h 1728"/>
                <a:gd name="T78" fmla="*/ 1724 w 1724"/>
                <a:gd name="T79" fmla="*/ 549 h 1728"/>
                <a:gd name="T80" fmla="*/ 1724 w 1724"/>
                <a:gd name="T81" fmla="*/ 449 h 1728"/>
                <a:gd name="T82" fmla="*/ 1638 w 1724"/>
                <a:gd name="T83" fmla="*/ 400 h 1728"/>
                <a:gd name="T84" fmla="*/ 1552 w 1724"/>
                <a:gd name="T85" fmla="*/ 449 h 1728"/>
                <a:gd name="T86" fmla="*/ 1552 w 1724"/>
                <a:gd name="T87" fmla="*/ 549 h 1728"/>
                <a:gd name="T88" fmla="*/ 1638 w 1724"/>
                <a:gd name="T89" fmla="*/ 598 h 1728"/>
                <a:gd name="T90" fmla="*/ 86 w 1724"/>
                <a:gd name="T91" fmla="*/ 598 h 1728"/>
                <a:gd name="T92" fmla="*/ 172 w 1724"/>
                <a:gd name="T93" fmla="*/ 549 h 1728"/>
                <a:gd name="T94" fmla="*/ 172 w 1724"/>
                <a:gd name="T95" fmla="*/ 449 h 1728"/>
                <a:gd name="T96" fmla="*/ 86 w 1724"/>
                <a:gd name="T97" fmla="*/ 400 h 1728"/>
                <a:gd name="T98" fmla="*/ 0 w 1724"/>
                <a:gd name="T99" fmla="*/ 449 h 1728"/>
                <a:gd name="T100" fmla="*/ 0 w 1724"/>
                <a:gd name="T101" fmla="*/ 549 h 1728"/>
                <a:gd name="T102" fmla="*/ 86 w 1724"/>
                <a:gd name="T103" fmla="*/ 598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4" h="1728">
                  <a:moveTo>
                    <a:pt x="352" y="578"/>
                  </a:moveTo>
                  <a:cubicBezTo>
                    <a:pt x="464" y="455"/>
                    <a:pt x="620" y="373"/>
                    <a:pt x="795" y="356"/>
                  </a:cubicBezTo>
                  <a:cubicBezTo>
                    <a:pt x="795" y="400"/>
                    <a:pt x="795" y="400"/>
                    <a:pt x="795" y="400"/>
                  </a:cubicBezTo>
                  <a:cubicBezTo>
                    <a:pt x="636" y="416"/>
                    <a:pt x="494" y="491"/>
                    <a:pt x="391" y="601"/>
                  </a:cubicBezTo>
                  <a:lnTo>
                    <a:pt x="352" y="578"/>
                  </a:lnTo>
                  <a:close/>
                  <a:moveTo>
                    <a:pt x="927" y="400"/>
                  </a:moveTo>
                  <a:cubicBezTo>
                    <a:pt x="1086" y="416"/>
                    <a:pt x="1228" y="491"/>
                    <a:pt x="1331" y="602"/>
                  </a:cubicBezTo>
                  <a:cubicBezTo>
                    <a:pt x="1370" y="579"/>
                    <a:pt x="1370" y="579"/>
                    <a:pt x="1370" y="579"/>
                  </a:cubicBezTo>
                  <a:cubicBezTo>
                    <a:pt x="1258" y="455"/>
                    <a:pt x="1102" y="373"/>
                    <a:pt x="927" y="356"/>
                  </a:cubicBezTo>
                  <a:lnTo>
                    <a:pt x="927" y="400"/>
                  </a:lnTo>
                  <a:close/>
                  <a:moveTo>
                    <a:pt x="1412" y="707"/>
                  </a:moveTo>
                  <a:cubicBezTo>
                    <a:pt x="1471" y="805"/>
                    <a:pt x="1505" y="919"/>
                    <a:pt x="1505" y="1041"/>
                  </a:cubicBezTo>
                  <a:cubicBezTo>
                    <a:pt x="1505" y="1396"/>
                    <a:pt x="1216" y="1684"/>
                    <a:pt x="861" y="1684"/>
                  </a:cubicBezTo>
                  <a:cubicBezTo>
                    <a:pt x="506" y="1684"/>
                    <a:pt x="217" y="1396"/>
                    <a:pt x="217" y="1041"/>
                  </a:cubicBezTo>
                  <a:cubicBezTo>
                    <a:pt x="217" y="919"/>
                    <a:pt x="251" y="804"/>
                    <a:pt x="310" y="707"/>
                  </a:cubicBezTo>
                  <a:cubicBezTo>
                    <a:pt x="273" y="685"/>
                    <a:pt x="273" y="685"/>
                    <a:pt x="273" y="685"/>
                  </a:cubicBezTo>
                  <a:cubicBezTo>
                    <a:pt x="209" y="788"/>
                    <a:pt x="173" y="910"/>
                    <a:pt x="173" y="1041"/>
                  </a:cubicBezTo>
                  <a:cubicBezTo>
                    <a:pt x="173" y="1420"/>
                    <a:pt x="482" y="1728"/>
                    <a:pt x="861" y="1728"/>
                  </a:cubicBezTo>
                  <a:cubicBezTo>
                    <a:pt x="1240" y="1728"/>
                    <a:pt x="1549" y="1420"/>
                    <a:pt x="1549" y="1041"/>
                  </a:cubicBezTo>
                  <a:cubicBezTo>
                    <a:pt x="1549" y="911"/>
                    <a:pt x="1512" y="789"/>
                    <a:pt x="1449" y="685"/>
                  </a:cubicBezTo>
                  <a:lnTo>
                    <a:pt x="1412" y="707"/>
                  </a:lnTo>
                  <a:close/>
                  <a:moveTo>
                    <a:pt x="687" y="738"/>
                  </a:moveTo>
                  <a:cubicBezTo>
                    <a:pt x="648" y="738"/>
                    <a:pt x="617" y="770"/>
                    <a:pt x="617" y="809"/>
                  </a:cubicBezTo>
                  <a:cubicBezTo>
                    <a:pt x="617" y="847"/>
                    <a:pt x="648" y="879"/>
                    <a:pt x="687" y="879"/>
                  </a:cubicBezTo>
                  <a:cubicBezTo>
                    <a:pt x="726" y="879"/>
                    <a:pt x="757" y="847"/>
                    <a:pt x="757" y="809"/>
                  </a:cubicBezTo>
                  <a:cubicBezTo>
                    <a:pt x="757" y="770"/>
                    <a:pt x="726" y="738"/>
                    <a:pt x="687" y="738"/>
                  </a:cubicBezTo>
                  <a:close/>
                  <a:moveTo>
                    <a:pt x="1062" y="970"/>
                  </a:moveTo>
                  <a:cubicBezTo>
                    <a:pt x="1024" y="970"/>
                    <a:pt x="992" y="1002"/>
                    <a:pt x="992" y="1041"/>
                  </a:cubicBezTo>
                  <a:cubicBezTo>
                    <a:pt x="992" y="1079"/>
                    <a:pt x="1024" y="1111"/>
                    <a:pt x="1062" y="1111"/>
                  </a:cubicBezTo>
                  <a:cubicBezTo>
                    <a:pt x="1101" y="1111"/>
                    <a:pt x="1133" y="1079"/>
                    <a:pt x="1133" y="1041"/>
                  </a:cubicBezTo>
                  <a:cubicBezTo>
                    <a:pt x="1133" y="1002"/>
                    <a:pt x="1101" y="970"/>
                    <a:pt x="1062" y="970"/>
                  </a:cubicBezTo>
                  <a:close/>
                  <a:moveTo>
                    <a:pt x="861" y="198"/>
                  </a:moveTo>
                  <a:cubicBezTo>
                    <a:pt x="947" y="149"/>
                    <a:pt x="947" y="149"/>
                    <a:pt x="947" y="149"/>
                  </a:cubicBezTo>
                  <a:cubicBezTo>
                    <a:pt x="947" y="49"/>
                    <a:pt x="947" y="49"/>
                    <a:pt x="947" y="49"/>
                  </a:cubicBezTo>
                  <a:cubicBezTo>
                    <a:pt x="861" y="0"/>
                    <a:pt x="861" y="0"/>
                    <a:pt x="861" y="0"/>
                  </a:cubicBezTo>
                  <a:cubicBezTo>
                    <a:pt x="775" y="49"/>
                    <a:pt x="775" y="49"/>
                    <a:pt x="775" y="49"/>
                  </a:cubicBezTo>
                  <a:cubicBezTo>
                    <a:pt x="775" y="149"/>
                    <a:pt x="775" y="149"/>
                    <a:pt x="775" y="149"/>
                  </a:cubicBezTo>
                  <a:lnTo>
                    <a:pt x="861" y="198"/>
                  </a:lnTo>
                  <a:close/>
                  <a:moveTo>
                    <a:pt x="1638" y="598"/>
                  </a:moveTo>
                  <a:cubicBezTo>
                    <a:pt x="1724" y="549"/>
                    <a:pt x="1724" y="549"/>
                    <a:pt x="1724" y="549"/>
                  </a:cubicBezTo>
                  <a:cubicBezTo>
                    <a:pt x="1724" y="449"/>
                    <a:pt x="1724" y="449"/>
                    <a:pt x="1724" y="449"/>
                  </a:cubicBezTo>
                  <a:cubicBezTo>
                    <a:pt x="1638" y="400"/>
                    <a:pt x="1638" y="400"/>
                    <a:pt x="1638" y="400"/>
                  </a:cubicBezTo>
                  <a:cubicBezTo>
                    <a:pt x="1552" y="449"/>
                    <a:pt x="1552" y="449"/>
                    <a:pt x="1552" y="449"/>
                  </a:cubicBezTo>
                  <a:cubicBezTo>
                    <a:pt x="1552" y="549"/>
                    <a:pt x="1552" y="549"/>
                    <a:pt x="1552" y="549"/>
                  </a:cubicBezTo>
                  <a:lnTo>
                    <a:pt x="1638" y="598"/>
                  </a:lnTo>
                  <a:close/>
                  <a:moveTo>
                    <a:pt x="86" y="598"/>
                  </a:moveTo>
                  <a:cubicBezTo>
                    <a:pt x="172" y="549"/>
                    <a:pt x="172" y="549"/>
                    <a:pt x="172" y="549"/>
                  </a:cubicBezTo>
                  <a:cubicBezTo>
                    <a:pt x="172" y="449"/>
                    <a:pt x="172" y="449"/>
                    <a:pt x="172" y="449"/>
                  </a:cubicBezTo>
                  <a:cubicBezTo>
                    <a:pt x="86" y="400"/>
                    <a:pt x="86" y="400"/>
                    <a:pt x="86" y="400"/>
                  </a:cubicBezTo>
                  <a:cubicBezTo>
                    <a:pt x="0" y="449"/>
                    <a:pt x="0" y="449"/>
                    <a:pt x="0" y="449"/>
                  </a:cubicBezTo>
                  <a:cubicBezTo>
                    <a:pt x="0" y="549"/>
                    <a:pt x="0" y="549"/>
                    <a:pt x="0" y="549"/>
                  </a:cubicBezTo>
                  <a:lnTo>
                    <a:pt x="86" y="5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659" tIns="33330" rIns="66659" bIns="33330" numCol="1" anchor="t" anchorCtr="0" compatLnSpc="1">
              <a:prstTxWarp prst="textNoShape">
                <a:avLst/>
              </a:prstTxWarp>
            </a:bodyPr>
            <a:lstStyle/>
            <a:p>
              <a:endParaRPr lang="en-US"/>
            </a:p>
          </p:txBody>
        </p:sp>
        <p:sp>
          <p:nvSpPr>
            <p:cNvPr id="90" name="Freeform 37">
              <a:extLst>
                <a:ext uri="{FF2B5EF4-FFF2-40B4-BE49-F238E27FC236}">
                  <a16:creationId xmlns:a16="http://schemas.microsoft.com/office/drawing/2014/main" id="{21F2D7C3-BE12-522C-E73F-85E00C5FB490}"/>
                </a:ext>
              </a:extLst>
            </p:cNvPr>
            <p:cNvSpPr>
              <a:spLocks noEditPoints="1"/>
            </p:cNvSpPr>
            <p:nvPr/>
          </p:nvSpPr>
          <p:spPr bwMode="auto">
            <a:xfrm>
              <a:off x="2062" y="446"/>
              <a:ext cx="3560" cy="3047"/>
            </a:xfrm>
            <a:custGeom>
              <a:avLst/>
              <a:gdLst>
                <a:gd name="T0" fmla="*/ 949 w 1900"/>
                <a:gd name="T1" fmla="*/ 654 h 1625"/>
                <a:gd name="T2" fmla="*/ 463 w 1900"/>
                <a:gd name="T3" fmla="*/ 1140 h 1625"/>
                <a:gd name="T4" fmla="*/ 584 w 1900"/>
                <a:gd name="T5" fmla="*/ 1459 h 1625"/>
                <a:gd name="T6" fmla="*/ 1318 w 1900"/>
                <a:gd name="T7" fmla="*/ 1454 h 1625"/>
                <a:gd name="T8" fmla="*/ 1265 w 1900"/>
                <a:gd name="T9" fmla="*/ 831 h 1625"/>
                <a:gd name="T10" fmla="*/ 1056 w 1900"/>
                <a:gd name="T11" fmla="*/ 711 h 1625"/>
                <a:gd name="T12" fmla="*/ 508 w 1900"/>
                <a:gd name="T13" fmla="*/ 1162 h 1625"/>
                <a:gd name="T14" fmla="*/ 603 w 1900"/>
                <a:gd name="T15" fmla="*/ 1414 h 1625"/>
                <a:gd name="T16" fmla="*/ 786 w 1900"/>
                <a:gd name="T17" fmla="*/ 1476 h 1625"/>
                <a:gd name="T18" fmla="*/ 949 w 1900"/>
                <a:gd name="T19" fmla="*/ 1581 h 1625"/>
                <a:gd name="T20" fmla="*/ 1095 w 1900"/>
                <a:gd name="T21" fmla="*/ 1392 h 1625"/>
                <a:gd name="T22" fmla="*/ 1111 w 1900"/>
                <a:gd name="T23" fmla="*/ 1476 h 1625"/>
                <a:gd name="T24" fmla="*/ 1056 w 1900"/>
                <a:gd name="T25" fmla="*/ 1568 h 1625"/>
                <a:gd name="T26" fmla="*/ 1166 w 1900"/>
                <a:gd name="T27" fmla="*/ 1253 h 1625"/>
                <a:gd name="T28" fmla="*/ 1106 w 1900"/>
                <a:gd name="T29" fmla="*/ 1349 h 1625"/>
                <a:gd name="T30" fmla="*/ 770 w 1900"/>
                <a:gd name="T31" fmla="*/ 1162 h 1625"/>
                <a:gd name="T32" fmla="*/ 1038 w 1900"/>
                <a:gd name="T33" fmla="*/ 1118 h 1625"/>
                <a:gd name="T34" fmla="*/ 775 w 1900"/>
                <a:gd name="T35" fmla="*/ 1022 h 1625"/>
                <a:gd name="T36" fmla="*/ 508 w 1900"/>
                <a:gd name="T37" fmla="*/ 1118 h 1625"/>
                <a:gd name="T38" fmla="*/ 676 w 1900"/>
                <a:gd name="T39" fmla="*/ 851 h 1625"/>
                <a:gd name="T40" fmla="*/ 790 w 1900"/>
                <a:gd name="T41" fmla="*/ 794 h 1625"/>
                <a:gd name="T42" fmla="*/ 1095 w 1900"/>
                <a:gd name="T43" fmla="*/ 887 h 1625"/>
                <a:gd name="T44" fmla="*/ 889 w 1900"/>
                <a:gd name="T45" fmla="*/ 908 h 1625"/>
                <a:gd name="T46" fmla="*/ 1106 w 1900"/>
                <a:gd name="T47" fmla="*/ 930 h 1625"/>
                <a:gd name="T48" fmla="*/ 1166 w 1900"/>
                <a:gd name="T49" fmla="*/ 1027 h 1625"/>
                <a:gd name="T50" fmla="*/ 1390 w 1900"/>
                <a:gd name="T51" fmla="*/ 1118 h 1625"/>
                <a:gd name="T52" fmla="*/ 1262 w 1900"/>
                <a:gd name="T53" fmla="*/ 1162 h 1625"/>
                <a:gd name="T54" fmla="*/ 575 w 1900"/>
                <a:gd name="T55" fmla="*/ 714 h 1625"/>
                <a:gd name="T56" fmla="*/ 348 w 1900"/>
                <a:gd name="T57" fmla="*/ 673 h 1625"/>
                <a:gd name="T58" fmla="*/ 185 w 1900"/>
                <a:gd name="T59" fmla="*/ 404 h 1625"/>
                <a:gd name="T60" fmla="*/ 0 w 1900"/>
                <a:gd name="T61" fmla="*/ 510 h 1625"/>
                <a:gd name="T62" fmla="*/ 163 w 1900"/>
                <a:gd name="T63" fmla="*/ 793 h 1625"/>
                <a:gd name="T64" fmla="*/ 326 w 1900"/>
                <a:gd name="T65" fmla="*/ 711 h 1625"/>
                <a:gd name="T66" fmla="*/ 446 w 1900"/>
                <a:gd name="T67" fmla="*/ 878 h 1625"/>
                <a:gd name="T68" fmla="*/ 574 w 1900"/>
                <a:gd name="T69" fmla="*/ 746 h 1625"/>
                <a:gd name="T70" fmla="*/ 174 w 1900"/>
                <a:gd name="T71" fmla="*/ 748 h 1625"/>
                <a:gd name="T72" fmla="*/ 174 w 1900"/>
                <a:gd name="T73" fmla="*/ 448 h 1625"/>
                <a:gd name="T74" fmla="*/ 1889 w 1900"/>
                <a:gd name="T75" fmla="*/ 491 h 1625"/>
                <a:gd name="T76" fmla="*/ 1563 w 1900"/>
                <a:gd name="T77" fmla="*/ 491 h 1625"/>
                <a:gd name="T78" fmla="*/ 1400 w 1900"/>
                <a:gd name="T79" fmla="*/ 763 h 1625"/>
                <a:gd name="T80" fmla="*/ 1323 w 1900"/>
                <a:gd name="T81" fmla="*/ 746 h 1625"/>
                <a:gd name="T82" fmla="*/ 1451 w 1900"/>
                <a:gd name="T83" fmla="*/ 878 h 1625"/>
                <a:gd name="T84" fmla="*/ 1574 w 1900"/>
                <a:gd name="T85" fmla="*/ 711 h 1625"/>
                <a:gd name="T86" fmla="*/ 1737 w 1900"/>
                <a:gd name="T87" fmla="*/ 793 h 1625"/>
                <a:gd name="T88" fmla="*/ 1900 w 1900"/>
                <a:gd name="T89" fmla="*/ 510 h 1625"/>
                <a:gd name="T90" fmla="*/ 1726 w 1900"/>
                <a:gd name="T91" fmla="*/ 748 h 1625"/>
                <a:gd name="T92" fmla="*/ 1726 w 1900"/>
                <a:gd name="T93" fmla="*/ 448 h 1625"/>
                <a:gd name="T94" fmla="*/ 1112 w 1900"/>
                <a:gd name="T95" fmla="*/ 91 h 1625"/>
                <a:gd name="T96" fmla="*/ 786 w 1900"/>
                <a:gd name="T97" fmla="*/ 91 h 1625"/>
                <a:gd name="T98" fmla="*/ 786 w 1900"/>
                <a:gd name="T99" fmla="*/ 305 h 1625"/>
                <a:gd name="T100" fmla="*/ 859 w 1900"/>
                <a:gd name="T101" fmla="*/ 559 h 1625"/>
                <a:gd name="T102" fmla="*/ 866 w 1900"/>
                <a:gd name="T103" fmla="*/ 602 h 1625"/>
                <a:gd name="T104" fmla="*/ 1038 w 1900"/>
                <a:gd name="T105" fmla="*/ 559 h 1625"/>
                <a:gd name="T106" fmla="*/ 1112 w 1900"/>
                <a:gd name="T107" fmla="*/ 305 h 1625"/>
                <a:gd name="T108" fmla="*/ 1112 w 1900"/>
                <a:gd name="T109" fmla="*/ 91 h 1625"/>
                <a:gd name="T110" fmla="*/ 819 w 1900"/>
                <a:gd name="T111" fmla="*/ 273 h 1625"/>
                <a:gd name="T112" fmla="*/ 1079 w 1900"/>
                <a:gd name="T113" fmla="*/ 123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00" h="1625">
                  <a:moveTo>
                    <a:pt x="1318" y="825"/>
                  </a:moveTo>
                  <a:cubicBezTo>
                    <a:pt x="1317" y="823"/>
                    <a:pt x="1316" y="822"/>
                    <a:pt x="1315" y="821"/>
                  </a:cubicBezTo>
                  <a:cubicBezTo>
                    <a:pt x="1226" y="719"/>
                    <a:pt x="1095" y="654"/>
                    <a:pt x="949" y="654"/>
                  </a:cubicBezTo>
                  <a:cubicBezTo>
                    <a:pt x="803" y="654"/>
                    <a:pt x="672" y="719"/>
                    <a:pt x="583" y="820"/>
                  </a:cubicBezTo>
                  <a:cubicBezTo>
                    <a:pt x="582" y="822"/>
                    <a:pt x="580" y="823"/>
                    <a:pt x="579" y="825"/>
                  </a:cubicBezTo>
                  <a:cubicBezTo>
                    <a:pt x="507" y="910"/>
                    <a:pt x="463" y="1020"/>
                    <a:pt x="463" y="1140"/>
                  </a:cubicBezTo>
                  <a:cubicBezTo>
                    <a:pt x="463" y="1259"/>
                    <a:pt x="507" y="1369"/>
                    <a:pt x="579" y="1454"/>
                  </a:cubicBezTo>
                  <a:cubicBezTo>
                    <a:pt x="579" y="1454"/>
                    <a:pt x="579" y="1454"/>
                    <a:pt x="579" y="1454"/>
                  </a:cubicBezTo>
                  <a:cubicBezTo>
                    <a:pt x="580" y="1456"/>
                    <a:pt x="582" y="1458"/>
                    <a:pt x="584" y="1459"/>
                  </a:cubicBezTo>
                  <a:cubicBezTo>
                    <a:pt x="673" y="1561"/>
                    <a:pt x="803" y="1625"/>
                    <a:pt x="949" y="1625"/>
                  </a:cubicBezTo>
                  <a:cubicBezTo>
                    <a:pt x="1095" y="1625"/>
                    <a:pt x="1225" y="1561"/>
                    <a:pt x="1315" y="1459"/>
                  </a:cubicBezTo>
                  <a:cubicBezTo>
                    <a:pt x="1316" y="1457"/>
                    <a:pt x="1317" y="1456"/>
                    <a:pt x="1318" y="1454"/>
                  </a:cubicBezTo>
                  <a:cubicBezTo>
                    <a:pt x="1391" y="1369"/>
                    <a:pt x="1434" y="1260"/>
                    <a:pt x="1434" y="1140"/>
                  </a:cubicBezTo>
                  <a:cubicBezTo>
                    <a:pt x="1434" y="1020"/>
                    <a:pt x="1391" y="910"/>
                    <a:pt x="1318" y="825"/>
                  </a:cubicBezTo>
                  <a:close/>
                  <a:moveTo>
                    <a:pt x="1265" y="831"/>
                  </a:moveTo>
                  <a:cubicBezTo>
                    <a:pt x="1228" y="851"/>
                    <a:pt x="1185" y="866"/>
                    <a:pt x="1138" y="878"/>
                  </a:cubicBezTo>
                  <a:cubicBezTo>
                    <a:pt x="1130" y="851"/>
                    <a:pt x="1122" y="826"/>
                    <a:pt x="1111" y="803"/>
                  </a:cubicBezTo>
                  <a:cubicBezTo>
                    <a:pt x="1095" y="766"/>
                    <a:pt x="1077" y="735"/>
                    <a:pt x="1056" y="711"/>
                  </a:cubicBezTo>
                  <a:cubicBezTo>
                    <a:pt x="1137" y="731"/>
                    <a:pt x="1208" y="774"/>
                    <a:pt x="1265" y="831"/>
                  </a:cubicBezTo>
                  <a:close/>
                  <a:moveTo>
                    <a:pt x="603" y="1414"/>
                  </a:moveTo>
                  <a:cubicBezTo>
                    <a:pt x="547" y="1344"/>
                    <a:pt x="512" y="1257"/>
                    <a:pt x="508" y="1162"/>
                  </a:cubicBezTo>
                  <a:cubicBezTo>
                    <a:pt x="726" y="1162"/>
                    <a:pt x="726" y="1162"/>
                    <a:pt x="726" y="1162"/>
                  </a:cubicBezTo>
                  <a:cubicBezTo>
                    <a:pt x="727" y="1231"/>
                    <a:pt x="735" y="1298"/>
                    <a:pt x="749" y="1359"/>
                  </a:cubicBezTo>
                  <a:cubicBezTo>
                    <a:pt x="695" y="1372"/>
                    <a:pt x="645" y="1391"/>
                    <a:pt x="603" y="1414"/>
                  </a:cubicBezTo>
                  <a:close/>
                  <a:moveTo>
                    <a:pt x="633" y="1448"/>
                  </a:moveTo>
                  <a:cubicBezTo>
                    <a:pt x="670" y="1428"/>
                    <a:pt x="713" y="1413"/>
                    <a:pt x="759" y="1401"/>
                  </a:cubicBezTo>
                  <a:cubicBezTo>
                    <a:pt x="767" y="1428"/>
                    <a:pt x="776" y="1453"/>
                    <a:pt x="786" y="1476"/>
                  </a:cubicBezTo>
                  <a:cubicBezTo>
                    <a:pt x="802" y="1513"/>
                    <a:pt x="821" y="1544"/>
                    <a:pt x="841" y="1568"/>
                  </a:cubicBezTo>
                  <a:cubicBezTo>
                    <a:pt x="761" y="1548"/>
                    <a:pt x="689" y="1505"/>
                    <a:pt x="633" y="1448"/>
                  </a:cubicBezTo>
                  <a:close/>
                  <a:moveTo>
                    <a:pt x="949" y="1581"/>
                  </a:moveTo>
                  <a:cubicBezTo>
                    <a:pt x="894" y="1581"/>
                    <a:pt x="837" y="1511"/>
                    <a:pt x="802" y="1392"/>
                  </a:cubicBezTo>
                  <a:cubicBezTo>
                    <a:pt x="849" y="1384"/>
                    <a:pt x="898" y="1379"/>
                    <a:pt x="949" y="1379"/>
                  </a:cubicBezTo>
                  <a:cubicBezTo>
                    <a:pt x="999" y="1379"/>
                    <a:pt x="1049" y="1384"/>
                    <a:pt x="1095" y="1392"/>
                  </a:cubicBezTo>
                  <a:cubicBezTo>
                    <a:pt x="1061" y="1511"/>
                    <a:pt x="1004" y="1581"/>
                    <a:pt x="949" y="1581"/>
                  </a:cubicBezTo>
                  <a:close/>
                  <a:moveTo>
                    <a:pt x="1056" y="1568"/>
                  </a:moveTo>
                  <a:cubicBezTo>
                    <a:pt x="1077" y="1544"/>
                    <a:pt x="1095" y="1513"/>
                    <a:pt x="1111" y="1476"/>
                  </a:cubicBezTo>
                  <a:cubicBezTo>
                    <a:pt x="1122" y="1453"/>
                    <a:pt x="1130" y="1428"/>
                    <a:pt x="1138" y="1401"/>
                  </a:cubicBezTo>
                  <a:cubicBezTo>
                    <a:pt x="1185" y="1413"/>
                    <a:pt x="1228" y="1428"/>
                    <a:pt x="1265" y="1448"/>
                  </a:cubicBezTo>
                  <a:cubicBezTo>
                    <a:pt x="1208" y="1505"/>
                    <a:pt x="1137" y="1548"/>
                    <a:pt x="1056" y="1568"/>
                  </a:cubicBezTo>
                  <a:close/>
                  <a:moveTo>
                    <a:pt x="1295" y="1414"/>
                  </a:moveTo>
                  <a:cubicBezTo>
                    <a:pt x="1252" y="1391"/>
                    <a:pt x="1203" y="1372"/>
                    <a:pt x="1149" y="1359"/>
                  </a:cubicBezTo>
                  <a:cubicBezTo>
                    <a:pt x="1157" y="1325"/>
                    <a:pt x="1162" y="1289"/>
                    <a:pt x="1166" y="1253"/>
                  </a:cubicBezTo>
                  <a:cubicBezTo>
                    <a:pt x="1161" y="1253"/>
                    <a:pt x="1156" y="1254"/>
                    <a:pt x="1150" y="1254"/>
                  </a:cubicBezTo>
                  <a:cubicBezTo>
                    <a:pt x="1141" y="1254"/>
                    <a:pt x="1131" y="1253"/>
                    <a:pt x="1123" y="1250"/>
                  </a:cubicBezTo>
                  <a:cubicBezTo>
                    <a:pt x="1119" y="1286"/>
                    <a:pt x="1113" y="1319"/>
                    <a:pt x="1106" y="1349"/>
                  </a:cubicBezTo>
                  <a:cubicBezTo>
                    <a:pt x="1056" y="1340"/>
                    <a:pt x="1003" y="1335"/>
                    <a:pt x="949" y="1335"/>
                  </a:cubicBezTo>
                  <a:cubicBezTo>
                    <a:pt x="895" y="1335"/>
                    <a:pt x="841" y="1340"/>
                    <a:pt x="791" y="1349"/>
                  </a:cubicBezTo>
                  <a:cubicBezTo>
                    <a:pt x="779" y="1294"/>
                    <a:pt x="771" y="1231"/>
                    <a:pt x="770" y="1162"/>
                  </a:cubicBezTo>
                  <a:cubicBezTo>
                    <a:pt x="1038" y="1162"/>
                    <a:pt x="1038" y="1162"/>
                    <a:pt x="1038" y="1162"/>
                  </a:cubicBezTo>
                  <a:cubicBezTo>
                    <a:pt x="1037" y="1154"/>
                    <a:pt x="1036" y="1147"/>
                    <a:pt x="1036" y="1140"/>
                  </a:cubicBezTo>
                  <a:cubicBezTo>
                    <a:pt x="1036" y="1132"/>
                    <a:pt x="1037" y="1125"/>
                    <a:pt x="1038" y="1118"/>
                  </a:cubicBezTo>
                  <a:cubicBezTo>
                    <a:pt x="770" y="1118"/>
                    <a:pt x="770" y="1118"/>
                    <a:pt x="770" y="1118"/>
                  </a:cubicBezTo>
                  <a:cubicBezTo>
                    <a:pt x="770" y="1084"/>
                    <a:pt x="772" y="1052"/>
                    <a:pt x="776" y="1022"/>
                  </a:cubicBezTo>
                  <a:cubicBezTo>
                    <a:pt x="776" y="1022"/>
                    <a:pt x="775" y="1022"/>
                    <a:pt x="775" y="1022"/>
                  </a:cubicBezTo>
                  <a:cubicBezTo>
                    <a:pt x="760" y="1022"/>
                    <a:pt x="746" y="1019"/>
                    <a:pt x="733" y="1013"/>
                  </a:cubicBezTo>
                  <a:cubicBezTo>
                    <a:pt x="729" y="1047"/>
                    <a:pt x="726" y="1082"/>
                    <a:pt x="726" y="1118"/>
                  </a:cubicBezTo>
                  <a:cubicBezTo>
                    <a:pt x="508" y="1118"/>
                    <a:pt x="508" y="1118"/>
                    <a:pt x="508" y="1118"/>
                  </a:cubicBezTo>
                  <a:cubicBezTo>
                    <a:pt x="512" y="1023"/>
                    <a:pt x="547" y="935"/>
                    <a:pt x="603" y="865"/>
                  </a:cubicBezTo>
                  <a:cubicBezTo>
                    <a:pt x="621" y="875"/>
                    <a:pt x="641" y="885"/>
                    <a:pt x="662" y="893"/>
                  </a:cubicBezTo>
                  <a:cubicBezTo>
                    <a:pt x="664" y="878"/>
                    <a:pt x="669" y="864"/>
                    <a:pt x="676" y="851"/>
                  </a:cubicBezTo>
                  <a:cubicBezTo>
                    <a:pt x="661" y="845"/>
                    <a:pt x="646" y="838"/>
                    <a:pt x="633" y="831"/>
                  </a:cubicBezTo>
                  <a:cubicBezTo>
                    <a:pt x="689" y="774"/>
                    <a:pt x="761" y="731"/>
                    <a:pt x="841" y="711"/>
                  </a:cubicBezTo>
                  <a:cubicBezTo>
                    <a:pt x="823" y="733"/>
                    <a:pt x="805" y="761"/>
                    <a:pt x="790" y="794"/>
                  </a:cubicBezTo>
                  <a:cubicBezTo>
                    <a:pt x="805" y="796"/>
                    <a:pt x="819" y="801"/>
                    <a:pt x="832" y="808"/>
                  </a:cubicBezTo>
                  <a:cubicBezTo>
                    <a:pt x="865" y="738"/>
                    <a:pt x="908" y="698"/>
                    <a:pt x="949" y="698"/>
                  </a:cubicBezTo>
                  <a:cubicBezTo>
                    <a:pt x="1004" y="698"/>
                    <a:pt x="1061" y="769"/>
                    <a:pt x="1095" y="887"/>
                  </a:cubicBezTo>
                  <a:cubicBezTo>
                    <a:pt x="1049" y="896"/>
                    <a:pt x="999" y="900"/>
                    <a:pt x="949" y="900"/>
                  </a:cubicBezTo>
                  <a:cubicBezTo>
                    <a:pt x="929" y="900"/>
                    <a:pt x="909" y="899"/>
                    <a:pt x="889" y="898"/>
                  </a:cubicBezTo>
                  <a:cubicBezTo>
                    <a:pt x="889" y="901"/>
                    <a:pt x="889" y="904"/>
                    <a:pt x="889" y="908"/>
                  </a:cubicBezTo>
                  <a:cubicBezTo>
                    <a:pt x="889" y="919"/>
                    <a:pt x="887" y="931"/>
                    <a:pt x="884" y="942"/>
                  </a:cubicBezTo>
                  <a:cubicBezTo>
                    <a:pt x="905" y="943"/>
                    <a:pt x="927" y="944"/>
                    <a:pt x="949" y="944"/>
                  </a:cubicBezTo>
                  <a:cubicBezTo>
                    <a:pt x="1003" y="944"/>
                    <a:pt x="1056" y="939"/>
                    <a:pt x="1106" y="930"/>
                  </a:cubicBezTo>
                  <a:cubicBezTo>
                    <a:pt x="1113" y="960"/>
                    <a:pt x="1119" y="993"/>
                    <a:pt x="1123" y="1029"/>
                  </a:cubicBezTo>
                  <a:cubicBezTo>
                    <a:pt x="1131" y="1027"/>
                    <a:pt x="1141" y="1025"/>
                    <a:pt x="1150" y="1025"/>
                  </a:cubicBezTo>
                  <a:cubicBezTo>
                    <a:pt x="1156" y="1025"/>
                    <a:pt x="1161" y="1026"/>
                    <a:pt x="1166" y="1027"/>
                  </a:cubicBezTo>
                  <a:cubicBezTo>
                    <a:pt x="1162" y="990"/>
                    <a:pt x="1157" y="954"/>
                    <a:pt x="1149" y="921"/>
                  </a:cubicBezTo>
                  <a:cubicBezTo>
                    <a:pt x="1203" y="907"/>
                    <a:pt x="1252" y="889"/>
                    <a:pt x="1295" y="865"/>
                  </a:cubicBezTo>
                  <a:cubicBezTo>
                    <a:pt x="1350" y="935"/>
                    <a:pt x="1385" y="1023"/>
                    <a:pt x="1390" y="1118"/>
                  </a:cubicBezTo>
                  <a:cubicBezTo>
                    <a:pt x="1262" y="1118"/>
                    <a:pt x="1262" y="1118"/>
                    <a:pt x="1262" y="1118"/>
                  </a:cubicBezTo>
                  <a:cubicBezTo>
                    <a:pt x="1264" y="1125"/>
                    <a:pt x="1265" y="1132"/>
                    <a:pt x="1265" y="1140"/>
                  </a:cubicBezTo>
                  <a:cubicBezTo>
                    <a:pt x="1265" y="1147"/>
                    <a:pt x="1264" y="1154"/>
                    <a:pt x="1262" y="1162"/>
                  </a:cubicBezTo>
                  <a:cubicBezTo>
                    <a:pt x="1390" y="1162"/>
                    <a:pt x="1390" y="1162"/>
                    <a:pt x="1390" y="1162"/>
                  </a:cubicBezTo>
                  <a:cubicBezTo>
                    <a:pt x="1385" y="1257"/>
                    <a:pt x="1350" y="1344"/>
                    <a:pt x="1295" y="1414"/>
                  </a:cubicBezTo>
                  <a:close/>
                  <a:moveTo>
                    <a:pt x="575" y="714"/>
                  </a:moveTo>
                  <a:cubicBezTo>
                    <a:pt x="567" y="706"/>
                    <a:pt x="553" y="705"/>
                    <a:pt x="544" y="714"/>
                  </a:cubicBezTo>
                  <a:cubicBezTo>
                    <a:pt x="527" y="729"/>
                    <a:pt x="512" y="746"/>
                    <a:pt x="498" y="763"/>
                  </a:cubicBezTo>
                  <a:cubicBezTo>
                    <a:pt x="348" y="673"/>
                    <a:pt x="348" y="673"/>
                    <a:pt x="348" y="673"/>
                  </a:cubicBezTo>
                  <a:cubicBezTo>
                    <a:pt x="348" y="510"/>
                    <a:pt x="348" y="510"/>
                    <a:pt x="348" y="510"/>
                  </a:cubicBezTo>
                  <a:cubicBezTo>
                    <a:pt x="348" y="502"/>
                    <a:pt x="344" y="495"/>
                    <a:pt x="337" y="491"/>
                  </a:cubicBezTo>
                  <a:cubicBezTo>
                    <a:pt x="185" y="404"/>
                    <a:pt x="185" y="404"/>
                    <a:pt x="185" y="404"/>
                  </a:cubicBezTo>
                  <a:cubicBezTo>
                    <a:pt x="178" y="400"/>
                    <a:pt x="170" y="400"/>
                    <a:pt x="163" y="404"/>
                  </a:cubicBezTo>
                  <a:cubicBezTo>
                    <a:pt x="11" y="491"/>
                    <a:pt x="11" y="491"/>
                    <a:pt x="11" y="491"/>
                  </a:cubicBezTo>
                  <a:cubicBezTo>
                    <a:pt x="4" y="495"/>
                    <a:pt x="0" y="502"/>
                    <a:pt x="0" y="510"/>
                  </a:cubicBezTo>
                  <a:cubicBezTo>
                    <a:pt x="0" y="686"/>
                    <a:pt x="0" y="686"/>
                    <a:pt x="0" y="686"/>
                  </a:cubicBezTo>
                  <a:cubicBezTo>
                    <a:pt x="0" y="694"/>
                    <a:pt x="4" y="701"/>
                    <a:pt x="11" y="705"/>
                  </a:cubicBezTo>
                  <a:cubicBezTo>
                    <a:pt x="163" y="793"/>
                    <a:pt x="163" y="793"/>
                    <a:pt x="163" y="793"/>
                  </a:cubicBezTo>
                  <a:cubicBezTo>
                    <a:pt x="166" y="795"/>
                    <a:pt x="170" y="796"/>
                    <a:pt x="174" y="796"/>
                  </a:cubicBezTo>
                  <a:cubicBezTo>
                    <a:pt x="178" y="796"/>
                    <a:pt x="181" y="795"/>
                    <a:pt x="185" y="793"/>
                  </a:cubicBezTo>
                  <a:cubicBezTo>
                    <a:pt x="326" y="711"/>
                    <a:pt x="326" y="711"/>
                    <a:pt x="326" y="711"/>
                  </a:cubicBezTo>
                  <a:cubicBezTo>
                    <a:pt x="470" y="798"/>
                    <a:pt x="470" y="798"/>
                    <a:pt x="470" y="798"/>
                  </a:cubicBezTo>
                  <a:cubicBezTo>
                    <a:pt x="459" y="814"/>
                    <a:pt x="448" y="831"/>
                    <a:pt x="438" y="848"/>
                  </a:cubicBezTo>
                  <a:cubicBezTo>
                    <a:pt x="432" y="859"/>
                    <a:pt x="436" y="872"/>
                    <a:pt x="446" y="878"/>
                  </a:cubicBezTo>
                  <a:cubicBezTo>
                    <a:pt x="450" y="880"/>
                    <a:pt x="454" y="881"/>
                    <a:pt x="457" y="881"/>
                  </a:cubicBezTo>
                  <a:cubicBezTo>
                    <a:pt x="465" y="881"/>
                    <a:pt x="472" y="877"/>
                    <a:pt x="476" y="870"/>
                  </a:cubicBezTo>
                  <a:cubicBezTo>
                    <a:pt x="503" y="824"/>
                    <a:pt x="536" y="782"/>
                    <a:pt x="574" y="746"/>
                  </a:cubicBezTo>
                  <a:cubicBezTo>
                    <a:pt x="583" y="737"/>
                    <a:pt x="583" y="723"/>
                    <a:pt x="575" y="714"/>
                  </a:cubicBezTo>
                  <a:close/>
                  <a:moveTo>
                    <a:pt x="304" y="673"/>
                  </a:moveTo>
                  <a:cubicBezTo>
                    <a:pt x="174" y="748"/>
                    <a:pt x="174" y="748"/>
                    <a:pt x="174" y="748"/>
                  </a:cubicBezTo>
                  <a:cubicBezTo>
                    <a:pt x="44" y="673"/>
                    <a:pt x="44" y="673"/>
                    <a:pt x="44" y="673"/>
                  </a:cubicBezTo>
                  <a:cubicBezTo>
                    <a:pt x="44" y="523"/>
                    <a:pt x="44" y="523"/>
                    <a:pt x="44" y="523"/>
                  </a:cubicBezTo>
                  <a:cubicBezTo>
                    <a:pt x="174" y="448"/>
                    <a:pt x="174" y="448"/>
                    <a:pt x="174" y="448"/>
                  </a:cubicBezTo>
                  <a:cubicBezTo>
                    <a:pt x="304" y="523"/>
                    <a:pt x="304" y="523"/>
                    <a:pt x="304" y="523"/>
                  </a:cubicBezTo>
                  <a:lnTo>
                    <a:pt x="304" y="673"/>
                  </a:lnTo>
                  <a:close/>
                  <a:moveTo>
                    <a:pt x="1889" y="491"/>
                  </a:moveTo>
                  <a:cubicBezTo>
                    <a:pt x="1737" y="404"/>
                    <a:pt x="1737" y="404"/>
                    <a:pt x="1737" y="404"/>
                  </a:cubicBezTo>
                  <a:cubicBezTo>
                    <a:pt x="1730" y="400"/>
                    <a:pt x="1722" y="400"/>
                    <a:pt x="1715" y="404"/>
                  </a:cubicBezTo>
                  <a:cubicBezTo>
                    <a:pt x="1563" y="491"/>
                    <a:pt x="1563" y="491"/>
                    <a:pt x="1563" y="491"/>
                  </a:cubicBezTo>
                  <a:cubicBezTo>
                    <a:pt x="1556" y="495"/>
                    <a:pt x="1552" y="502"/>
                    <a:pt x="1552" y="510"/>
                  </a:cubicBezTo>
                  <a:cubicBezTo>
                    <a:pt x="1552" y="673"/>
                    <a:pt x="1552" y="673"/>
                    <a:pt x="1552" y="673"/>
                  </a:cubicBezTo>
                  <a:cubicBezTo>
                    <a:pt x="1400" y="763"/>
                    <a:pt x="1400" y="763"/>
                    <a:pt x="1400" y="763"/>
                  </a:cubicBezTo>
                  <a:cubicBezTo>
                    <a:pt x="1385" y="746"/>
                    <a:pt x="1370" y="729"/>
                    <a:pt x="1354" y="714"/>
                  </a:cubicBezTo>
                  <a:cubicBezTo>
                    <a:pt x="1345" y="705"/>
                    <a:pt x="1331" y="706"/>
                    <a:pt x="1323" y="714"/>
                  </a:cubicBezTo>
                  <a:cubicBezTo>
                    <a:pt x="1314" y="723"/>
                    <a:pt x="1315" y="737"/>
                    <a:pt x="1323" y="746"/>
                  </a:cubicBezTo>
                  <a:cubicBezTo>
                    <a:pt x="1362" y="782"/>
                    <a:pt x="1395" y="824"/>
                    <a:pt x="1421" y="870"/>
                  </a:cubicBezTo>
                  <a:cubicBezTo>
                    <a:pt x="1425" y="877"/>
                    <a:pt x="1433" y="881"/>
                    <a:pt x="1440" y="881"/>
                  </a:cubicBezTo>
                  <a:cubicBezTo>
                    <a:pt x="1444" y="881"/>
                    <a:pt x="1448" y="880"/>
                    <a:pt x="1451" y="878"/>
                  </a:cubicBezTo>
                  <a:cubicBezTo>
                    <a:pt x="1462" y="872"/>
                    <a:pt x="1465" y="859"/>
                    <a:pt x="1459" y="848"/>
                  </a:cubicBezTo>
                  <a:cubicBezTo>
                    <a:pt x="1449" y="831"/>
                    <a:pt x="1439" y="814"/>
                    <a:pt x="1427" y="798"/>
                  </a:cubicBezTo>
                  <a:cubicBezTo>
                    <a:pt x="1574" y="711"/>
                    <a:pt x="1574" y="711"/>
                    <a:pt x="1574" y="711"/>
                  </a:cubicBezTo>
                  <a:cubicBezTo>
                    <a:pt x="1715" y="793"/>
                    <a:pt x="1715" y="793"/>
                    <a:pt x="1715" y="793"/>
                  </a:cubicBezTo>
                  <a:cubicBezTo>
                    <a:pt x="1719" y="795"/>
                    <a:pt x="1722" y="796"/>
                    <a:pt x="1726" y="796"/>
                  </a:cubicBezTo>
                  <a:cubicBezTo>
                    <a:pt x="1730" y="796"/>
                    <a:pt x="1734" y="795"/>
                    <a:pt x="1737" y="793"/>
                  </a:cubicBezTo>
                  <a:cubicBezTo>
                    <a:pt x="1889" y="705"/>
                    <a:pt x="1889" y="705"/>
                    <a:pt x="1889" y="705"/>
                  </a:cubicBezTo>
                  <a:cubicBezTo>
                    <a:pt x="1896" y="701"/>
                    <a:pt x="1900" y="694"/>
                    <a:pt x="1900" y="686"/>
                  </a:cubicBezTo>
                  <a:cubicBezTo>
                    <a:pt x="1900" y="510"/>
                    <a:pt x="1900" y="510"/>
                    <a:pt x="1900" y="510"/>
                  </a:cubicBezTo>
                  <a:cubicBezTo>
                    <a:pt x="1900" y="502"/>
                    <a:pt x="1896" y="495"/>
                    <a:pt x="1889" y="491"/>
                  </a:cubicBezTo>
                  <a:close/>
                  <a:moveTo>
                    <a:pt x="1856" y="673"/>
                  </a:moveTo>
                  <a:cubicBezTo>
                    <a:pt x="1726" y="748"/>
                    <a:pt x="1726" y="748"/>
                    <a:pt x="1726" y="748"/>
                  </a:cubicBezTo>
                  <a:cubicBezTo>
                    <a:pt x="1596" y="673"/>
                    <a:pt x="1596" y="673"/>
                    <a:pt x="1596" y="673"/>
                  </a:cubicBezTo>
                  <a:cubicBezTo>
                    <a:pt x="1596" y="523"/>
                    <a:pt x="1596" y="523"/>
                    <a:pt x="1596" y="523"/>
                  </a:cubicBezTo>
                  <a:cubicBezTo>
                    <a:pt x="1726" y="448"/>
                    <a:pt x="1726" y="448"/>
                    <a:pt x="1726" y="448"/>
                  </a:cubicBezTo>
                  <a:cubicBezTo>
                    <a:pt x="1856" y="523"/>
                    <a:pt x="1856" y="523"/>
                    <a:pt x="1856" y="523"/>
                  </a:cubicBezTo>
                  <a:lnTo>
                    <a:pt x="1856" y="673"/>
                  </a:lnTo>
                  <a:close/>
                  <a:moveTo>
                    <a:pt x="1112" y="91"/>
                  </a:moveTo>
                  <a:cubicBezTo>
                    <a:pt x="960" y="4"/>
                    <a:pt x="960" y="4"/>
                    <a:pt x="960" y="4"/>
                  </a:cubicBezTo>
                  <a:cubicBezTo>
                    <a:pt x="953" y="0"/>
                    <a:pt x="944" y="0"/>
                    <a:pt x="938" y="4"/>
                  </a:cubicBezTo>
                  <a:cubicBezTo>
                    <a:pt x="786" y="91"/>
                    <a:pt x="786" y="91"/>
                    <a:pt x="786" y="91"/>
                  </a:cubicBezTo>
                  <a:cubicBezTo>
                    <a:pt x="779" y="95"/>
                    <a:pt x="775" y="102"/>
                    <a:pt x="775" y="110"/>
                  </a:cubicBezTo>
                  <a:cubicBezTo>
                    <a:pt x="775" y="286"/>
                    <a:pt x="775" y="286"/>
                    <a:pt x="775" y="286"/>
                  </a:cubicBezTo>
                  <a:cubicBezTo>
                    <a:pt x="775" y="294"/>
                    <a:pt x="779" y="301"/>
                    <a:pt x="786" y="305"/>
                  </a:cubicBezTo>
                  <a:cubicBezTo>
                    <a:pt x="927" y="386"/>
                    <a:pt x="927" y="386"/>
                    <a:pt x="927" y="386"/>
                  </a:cubicBezTo>
                  <a:cubicBezTo>
                    <a:pt x="927" y="552"/>
                    <a:pt x="927" y="552"/>
                    <a:pt x="927" y="552"/>
                  </a:cubicBezTo>
                  <a:cubicBezTo>
                    <a:pt x="904" y="553"/>
                    <a:pt x="882" y="555"/>
                    <a:pt x="859" y="559"/>
                  </a:cubicBezTo>
                  <a:cubicBezTo>
                    <a:pt x="847" y="560"/>
                    <a:pt x="839" y="572"/>
                    <a:pt x="841" y="584"/>
                  </a:cubicBezTo>
                  <a:cubicBezTo>
                    <a:pt x="843" y="595"/>
                    <a:pt x="852" y="602"/>
                    <a:pt x="863" y="602"/>
                  </a:cubicBezTo>
                  <a:cubicBezTo>
                    <a:pt x="864" y="602"/>
                    <a:pt x="865" y="602"/>
                    <a:pt x="866" y="602"/>
                  </a:cubicBezTo>
                  <a:cubicBezTo>
                    <a:pt x="920" y="594"/>
                    <a:pt x="977" y="594"/>
                    <a:pt x="1031" y="602"/>
                  </a:cubicBezTo>
                  <a:cubicBezTo>
                    <a:pt x="1043" y="604"/>
                    <a:pt x="1055" y="596"/>
                    <a:pt x="1056" y="584"/>
                  </a:cubicBezTo>
                  <a:cubicBezTo>
                    <a:pt x="1058" y="572"/>
                    <a:pt x="1050" y="560"/>
                    <a:pt x="1038" y="559"/>
                  </a:cubicBezTo>
                  <a:cubicBezTo>
                    <a:pt x="1016" y="555"/>
                    <a:pt x="993" y="553"/>
                    <a:pt x="971" y="552"/>
                  </a:cubicBezTo>
                  <a:cubicBezTo>
                    <a:pt x="971" y="386"/>
                    <a:pt x="971" y="386"/>
                    <a:pt x="971" y="386"/>
                  </a:cubicBezTo>
                  <a:cubicBezTo>
                    <a:pt x="1112" y="305"/>
                    <a:pt x="1112" y="305"/>
                    <a:pt x="1112" y="305"/>
                  </a:cubicBezTo>
                  <a:cubicBezTo>
                    <a:pt x="1118" y="301"/>
                    <a:pt x="1123" y="294"/>
                    <a:pt x="1123" y="286"/>
                  </a:cubicBezTo>
                  <a:cubicBezTo>
                    <a:pt x="1123" y="110"/>
                    <a:pt x="1123" y="110"/>
                    <a:pt x="1123" y="110"/>
                  </a:cubicBezTo>
                  <a:cubicBezTo>
                    <a:pt x="1123" y="102"/>
                    <a:pt x="1118" y="95"/>
                    <a:pt x="1112" y="91"/>
                  </a:cubicBezTo>
                  <a:close/>
                  <a:moveTo>
                    <a:pt x="1079" y="273"/>
                  </a:moveTo>
                  <a:cubicBezTo>
                    <a:pt x="949" y="348"/>
                    <a:pt x="949" y="348"/>
                    <a:pt x="949" y="348"/>
                  </a:cubicBezTo>
                  <a:cubicBezTo>
                    <a:pt x="819" y="273"/>
                    <a:pt x="819" y="273"/>
                    <a:pt x="819" y="273"/>
                  </a:cubicBezTo>
                  <a:cubicBezTo>
                    <a:pt x="819" y="123"/>
                    <a:pt x="819" y="123"/>
                    <a:pt x="819" y="123"/>
                  </a:cubicBezTo>
                  <a:cubicBezTo>
                    <a:pt x="949" y="48"/>
                    <a:pt x="949" y="48"/>
                    <a:pt x="949" y="48"/>
                  </a:cubicBezTo>
                  <a:cubicBezTo>
                    <a:pt x="1079" y="123"/>
                    <a:pt x="1079" y="123"/>
                    <a:pt x="1079" y="123"/>
                  </a:cubicBezTo>
                  <a:lnTo>
                    <a:pt x="1079" y="2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659" tIns="33330" rIns="66659" bIns="33330" numCol="1" anchor="t" anchorCtr="0" compatLnSpc="1">
              <a:prstTxWarp prst="textNoShape">
                <a:avLst/>
              </a:prstTxWarp>
            </a:bodyPr>
            <a:lstStyle/>
            <a:p>
              <a:endParaRPr lang="en-US"/>
            </a:p>
          </p:txBody>
        </p:sp>
      </p:grpSp>
      <p:grpSp>
        <p:nvGrpSpPr>
          <p:cNvPr id="91" name="bcgIcons_Router ">
            <a:extLst>
              <a:ext uri="{FF2B5EF4-FFF2-40B4-BE49-F238E27FC236}">
                <a16:creationId xmlns:a16="http://schemas.microsoft.com/office/drawing/2014/main" id="{0F92CC3A-34DA-4B80-491F-8AF0B90AB49D}"/>
              </a:ext>
            </a:extLst>
          </p:cNvPr>
          <p:cNvGrpSpPr>
            <a:grpSpLocks noChangeAspect="1"/>
          </p:cNvGrpSpPr>
          <p:nvPr/>
        </p:nvGrpSpPr>
        <p:grpSpPr>
          <a:xfrm>
            <a:off x="6435849" y="2432037"/>
            <a:ext cx="339475" cy="339475"/>
            <a:chOff x="5273675" y="2606675"/>
            <a:chExt cx="1644650" cy="1644650"/>
          </a:xfrm>
        </p:grpSpPr>
        <p:sp>
          <p:nvSpPr>
            <p:cNvPr id="92" name="AutoShape 10">
              <a:extLst>
                <a:ext uri="{FF2B5EF4-FFF2-40B4-BE49-F238E27FC236}">
                  <a16:creationId xmlns:a16="http://schemas.microsoft.com/office/drawing/2014/main" id="{23DAEAD7-86E5-CA56-6F14-D769144EAC8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3" name="Group 92">
              <a:extLst>
                <a:ext uri="{FF2B5EF4-FFF2-40B4-BE49-F238E27FC236}">
                  <a16:creationId xmlns:a16="http://schemas.microsoft.com/office/drawing/2014/main" id="{089511EF-170F-39DE-8D58-EFFBDA0E0D8E}"/>
                </a:ext>
              </a:extLst>
            </p:cNvPr>
            <p:cNvGrpSpPr/>
            <p:nvPr/>
          </p:nvGrpSpPr>
          <p:grpSpPr>
            <a:xfrm>
              <a:off x="5443538" y="2876410"/>
              <a:ext cx="1304925" cy="1108215"/>
              <a:chOff x="5443538" y="2876410"/>
              <a:chExt cx="1304925" cy="1108215"/>
            </a:xfrm>
          </p:grpSpPr>
          <p:sp>
            <p:nvSpPr>
              <p:cNvPr id="94" name="Freeform 15">
                <a:extLst>
                  <a:ext uri="{FF2B5EF4-FFF2-40B4-BE49-F238E27FC236}">
                    <a16:creationId xmlns:a16="http://schemas.microsoft.com/office/drawing/2014/main" id="{6D0F8043-FBB1-2A82-7882-07668F4C8A24}"/>
                  </a:ext>
                </a:extLst>
              </p:cNvPr>
              <p:cNvSpPr>
                <a:spLocks/>
              </p:cNvSpPr>
              <p:nvPr/>
            </p:nvSpPr>
            <p:spPr bwMode="auto">
              <a:xfrm>
                <a:off x="5443538" y="3194050"/>
                <a:ext cx="1304925" cy="790575"/>
              </a:xfrm>
              <a:custGeom>
                <a:avLst/>
                <a:gdLst>
                  <a:gd name="connsiteX0" fmla="*/ 497443 w 1304925"/>
                  <a:gd name="connsiteY0" fmla="*/ 585788 h 790575"/>
                  <a:gd name="connsiteX1" fmla="*/ 481012 w 1304925"/>
                  <a:gd name="connsiteY1" fmla="*/ 601469 h 790575"/>
                  <a:gd name="connsiteX2" fmla="*/ 481012 w 1304925"/>
                  <a:gd name="connsiteY2" fmla="*/ 639958 h 790575"/>
                  <a:gd name="connsiteX3" fmla="*/ 497443 w 1304925"/>
                  <a:gd name="connsiteY3" fmla="*/ 655638 h 790575"/>
                  <a:gd name="connsiteX4" fmla="*/ 536734 w 1304925"/>
                  <a:gd name="connsiteY4" fmla="*/ 655638 h 790575"/>
                  <a:gd name="connsiteX5" fmla="*/ 552450 w 1304925"/>
                  <a:gd name="connsiteY5" fmla="*/ 639958 h 790575"/>
                  <a:gd name="connsiteX6" fmla="*/ 552450 w 1304925"/>
                  <a:gd name="connsiteY6" fmla="*/ 601469 h 790575"/>
                  <a:gd name="connsiteX7" fmla="*/ 536734 w 1304925"/>
                  <a:gd name="connsiteY7" fmla="*/ 585788 h 790575"/>
                  <a:gd name="connsiteX8" fmla="*/ 497443 w 1304925"/>
                  <a:gd name="connsiteY8" fmla="*/ 585788 h 790575"/>
                  <a:gd name="connsiteX9" fmla="*/ 398304 w 1304925"/>
                  <a:gd name="connsiteY9" fmla="*/ 585788 h 790575"/>
                  <a:gd name="connsiteX10" fmla="*/ 382587 w 1304925"/>
                  <a:gd name="connsiteY10" fmla="*/ 601469 h 790575"/>
                  <a:gd name="connsiteX11" fmla="*/ 382587 w 1304925"/>
                  <a:gd name="connsiteY11" fmla="*/ 639958 h 790575"/>
                  <a:gd name="connsiteX12" fmla="*/ 398304 w 1304925"/>
                  <a:gd name="connsiteY12" fmla="*/ 655638 h 790575"/>
                  <a:gd name="connsiteX13" fmla="*/ 437595 w 1304925"/>
                  <a:gd name="connsiteY13" fmla="*/ 655638 h 790575"/>
                  <a:gd name="connsiteX14" fmla="*/ 454025 w 1304925"/>
                  <a:gd name="connsiteY14" fmla="*/ 639958 h 790575"/>
                  <a:gd name="connsiteX15" fmla="*/ 454025 w 1304925"/>
                  <a:gd name="connsiteY15" fmla="*/ 601469 h 790575"/>
                  <a:gd name="connsiteX16" fmla="*/ 437595 w 1304925"/>
                  <a:gd name="connsiteY16" fmla="*/ 585788 h 790575"/>
                  <a:gd name="connsiteX17" fmla="*/ 398304 w 1304925"/>
                  <a:gd name="connsiteY17" fmla="*/ 585788 h 790575"/>
                  <a:gd name="connsiteX18" fmla="*/ 301431 w 1304925"/>
                  <a:gd name="connsiteY18" fmla="*/ 585788 h 790575"/>
                  <a:gd name="connsiteX19" fmla="*/ 285750 w 1304925"/>
                  <a:gd name="connsiteY19" fmla="*/ 601469 h 790575"/>
                  <a:gd name="connsiteX20" fmla="*/ 285750 w 1304925"/>
                  <a:gd name="connsiteY20" fmla="*/ 639958 h 790575"/>
                  <a:gd name="connsiteX21" fmla="*/ 301431 w 1304925"/>
                  <a:gd name="connsiteY21" fmla="*/ 655638 h 790575"/>
                  <a:gd name="connsiteX22" fmla="*/ 339920 w 1304925"/>
                  <a:gd name="connsiteY22" fmla="*/ 655638 h 790575"/>
                  <a:gd name="connsiteX23" fmla="*/ 355600 w 1304925"/>
                  <a:gd name="connsiteY23" fmla="*/ 639958 h 790575"/>
                  <a:gd name="connsiteX24" fmla="*/ 355600 w 1304925"/>
                  <a:gd name="connsiteY24" fmla="*/ 601469 h 790575"/>
                  <a:gd name="connsiteX25" fmla="*/ 339920 w 1304925"/>
                  <a:gd name="connsiteY25" fmla="*/ 585788 h 790575"/>
                  <a:gd name="connsiteX26" fmla="*/ 301431 w 1304925"/>
                  <a:gd name="connsiteY26" fmla="*/ 585788 h 790575"/>
                  <a:gd name="connsiteX27" fmla="*/ 203168 w 1304925"/>
                  <a:gd name="connsiteY27" fmla="*/ 585788 h 790575"/>
                  <a:gd name="connsiteX28" fmla="*/ 187325 w 1304925"/>
                  <a:gd name="connsiteY28" fmla="*/ 601469 h 790575"/>
                  <a:gd name="connsiteX29" fmla="*/ 187325 w 1304925"/>
                  <a:gd name="connsiteY29" fmla="*/ 639958 h 790575"/>
                  <a:gd name="connsiteX30" fmla="*/ 203168 w 1304925"/>
                  <a:gd name="connsiteY30" fmla="*/ 655638 h 790575"/>
                  <a:gd name="connsiteX31" fmla="*/ 241333 w 1304925"/>
                  <a:gd name="connsiteY31" fmla="*/ 655638 h 790575"/>
                  <a:gd name="connsiteX32" fmla="*/ 257175 w 1304925"/>
                  <a:gd name="connsiteY32" fmla="*/ 639958 h 790575"/>
                  <a:gd name="connsiteX33" fmla="*/ 257175 w 1304925"/>
                  <a:gd name="connsiteY33" fmla="*/ 601469 h 790575"/>
                  <a:gd name="connsiteX34" fmla="*/ 241333 w 1304925"/>
                  <a:gd name="connsiteY34" fmla="*/ 585788 h 790575"/>
                  <a:gd name="connsiteX35" fmla="*/ 203168 w 1304925"/>
                  <a:gd name="connsiteY35" fmla="*/ 585788 h 790575"/>
                  <a:gd name="connsiteX36" fmla="*/ 1123156 w 1304925"/>
                  <a:gd name="connsiteY36" fmla="*/ 463550 h 790575"/>
                  <a:gd name="connsiteX37" fmla="*/ 1055687 w 1304925"/>
                  <a:gd name="connsiteY37" fmla="*/ 533400 h 790575"/>
                  <a:gd name="connsiteX38" fmla="*/ 1123156 w 1304925"/>
                  <a:gd name="connsiteY38" fmla="*/ 603250 h 790575"/>
                  <a:gd name="connsiteX39" fmla="*/ 1190625 w 1304925"/>
                  <a:gd name="connsiteY39" fmla="*/ 533400 h 790575"/>
                  <a:gd name="connsiteX40" fmla="*/ 1123156 w 1304925"/>
                  <a:gd name="connsiteY40" fmla="*/ 463550 h 790575"/>
                  <a:gd name="connsiteX41" fmla="*/ 361210 w 1304925"/>
                  <a:gd name="connsiteY41" fmla="*/ 0 h 790575"/>
                  <a:gd name="connsiteX42" fmla="*/ 376915 w 1304925"/>
                  <a:gd name="connsiteY42" fmla="*/ 15697 h 790575"/>
                  <a:gd name="connsiteX43" fmla="*/ 376915 w 1304925"/>
                  <a:gd name="connsiteY43" fmla="*/ 357471 h 790575"/>
                  <a:gd name="connsiteX44" fmla="*/ 1289220 w 1304925"/>
                  <a:gd name="connsiteY44" fmla="*/ 357471 h 790575"/>
                  <a:gd name="connsiteX45" fmla="*/ 1304925 w 1304925"/>
                  <a:gd name="connsiteY45" fmla="*/ 373169 h 790575"/>
                  <a:gd name="connsiteX46" fmla="*/ 1304925 w 1304925"/>
                  <a:gd name="connsiteY46" fmla="*/ 774878 h 790575"/>
                  <a:gd name="connsiteX47" fmla="*/ 1289220 w 1304925"/>
                  <a:gd name="connsiteY47" fmla="*/ 790575 h 790575"/>
                  <a:gd name="connsiteX48" fmla="*/ 15705 w 1304925"/>
                  <a:gd name="connsiteY48" fmla="*/ 790575 h 790575"/>
                  <a:gd name="connsiteX49" fmla="*/ 0 w 1304925"/>
                  <a:gd name="connsiteY49" fmla="*/ 774878 h 790575"/>
                  <a:gd name="connsiteX50" fmla="*/ 0 w 1304925"/>
                  <a:gd name="connsiteY50" fmla="*/ 373169 h 790575"/>
                  <a:gd name="connsiteX51" fmla="*/ 15705 w 1304925"/>
                  <a:gd name="connsiteY51" fmla="*/ 357471 h 790575"/>
                  <a:gd name="connsiteX52" fmla="*/ 345506 w 1304925"/>
                  <a:gd name="connsiteY52" fmla="*/ 357471 h 790575"/>
                  <a:gd name="connsiteX53" fmla="*/ 345506 w 1304925"/>
                  <a:gd name="connsiteY53" fmla="*/ 15697 h 790575"/>
                  <a:gd name="connsiteX54" fmla="*/ 361210 w 1304925"/>
                  <a:gd name="connsiteY54" fmla="*/ 0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304925" h="790575">
                    <a:moveTo>
                      <a:pt x="497443" y="585788"/>
                    </a:moveTo>
                    <a:cubicBezTo>
                      <a:pt x="487442" y="585788"/>
                      <a:pt x="481012" y="592916"/>
                      <a:pt x="481012" y="601469"/>
                    </a:cubicBezTo>
                    <a:cubicBezTo>
                      <a:pt x="481012" y="639958"/>
                      <a:pt x="481012" y="639958"/>
                      <a:pt x="481012" y="639958"/>
                    </a:cubicBezTo>
                    <a:cubicBezTo>
                      <a:pt x="481012" y="648511"/>
                      <a:pt x="487442" y="655638"/>
                      <a:pt x="497443" y="655638"/>
                    </a:cubicBezTo>
                    <a:cubicBezTo>
                      <a:pt x="536734" y="655638"/>
                      <a:pt x="536734" y="655638"/>
                      <a:pt x="536734" y="655638"/>
                    </a:cubicBezTo>
                    <a:cubicBezTo>
                      <a:pt x="545306" y="655638"/>
                      <a:pt x="552450" y="648511"/>
                      <a:pt x="552450" y="639958"/>
                    </a:cubicBezTo>
                    <a:cubicBezTo>
                      <a:pt x="552450" y="601469"/>
                      <a:pt x="552450" y="601469"/>
                      <a:pt x="552450" y="601469"/>
                    </a:cubicBezTo>
                    <a:cubicBezTo>
                      <a:pt x="552450" y="592916"/>
                      <a:pt x="545306" y="585788"/>
                      <a:pt x="536734" y="585788"/>
                    </a:cubicBezTo>
                    <a:cubicBezTo>
                      <a:pt x="497443" y="585788"/>
                      <a:pt x="497443" y="585788"/>
                      <a:pt x="497443" y="585788"/>
                    </a:cubicBezTo>
                    <a:close/>
                    <a:moveTo>
                      <a:pt x="398304" y="585788"/>
                    </a:moveTo>
                    <a:cubicBezTo>
                      <a:pt x="389731" y="585788"/>
                      <a:pt x="382587" y="592916"/>
                      <a:pt x="382587" y="601469"/>
                    </a:cubicBezTo>
                    <a:cubicBezTo>
                      <a:pt x="382587" y="639958"/>
                      <a:pt x="382587" y="639958"/>
                      <a:pt x="382587" y="639958"/>
                    </a:cubicBezTo>
                    <a:cubicBezTo>
                      <a:pt x="382587" y="648511"/>
                      <a:pt x="389731" y="655638"/>
                      <a:pt x="398304" y="655638"/>
                    </a:cubicBezTo>
                    <a:cubicBezTo>
                      <a:pt x="437595" y="655638"/>
                      <a:pt x="437595" y="655638"/>
                      <a:pt x="437595" y="655638"/>
                    </a:cubicBezTo>
                    <a:cubicBezTo>
                      <a:pt x="446167" y="655638"/>
                      <a:pt x="454025" y="648511"/>
                      <a:pt x="454025" y="639958"/>
                    </a:cubicBezTo>
                    <a:cubicBezTo>
                      <a:pt x="454025" y="601469"/>
                      <a:pt x="454025" y="601469"/>
                      <a:pt x="454025" y="601469"/>
                    </a:cubicBezTo>
                    <a:cubicBezTo>
                      <a:pt x="454025" y="592916"/>
                      <a:pt x="446167" y="585788"/>
                      <a:pt x="437595" y="585788"/>
                    </a:cubicBezTo>
                    <a:cubicBezTo>
                      <a:pt x="398304" y="585788"/>
                      <a:pt x="398304" y="585788"/>
                      <a:pt x="398304" y="585788"/>
                    </a:cubicBezTo>
                    <a:close/>
                    <a:moveTo>
                      <a:pt x="301431" y="585788"/>
                    </a:moveTo>
                    <a:cubicBezTo>
                      <a:pt x="292878" y="585788"/>
                      <a:pt x="285750" y="592916"/>
                      <a:pt x="285750" y="601469"/>
                    </a:cubicBezTo>
                    <a:cubicBezTo>
                      <a:pt x="285750" y="639958"/>
                      <a:pt x="285750" y="639958"/>
                      <a:pt x="285750" y="639958"/>
                    </a:cubicBezTo>
                    <a:cubicBezTo>
                      <a:pt x="285750" y="648511"/>
                      <a:pt x="292878" y="655638"/>
                      <a:pt x="301431" y="655638"/>
                    </a:cubicBezTo>
                    <a:cubicBezTo>
                      <a:pt x="339920" y="655638"/>
                      <a:pt x="339920" y="655638"/>
                      <a:pt x="339920" y="655638"/>
                    </a:cubicBezTo>
                    <a:cubicBezTo>
                      <a:pt x="348473" y="655638"/>
                      <a:pt x="355600" y="648511"/>
                      <a:pt x="355600" y="639958"/>
                    </a:cubicBezTo>
                    <a:cubicBezTo>
                      <a:pt x="355600" y="601469"/>
                      <a:pt x="355600" y="601469"/>
                      <a:pt x="355600" y="601469"/>
                    </a:cubicBezTo>
                    <a:cubicBezTo>
                      <a:pt x="355600" y="592916"/>
                      <a:pt x="348473" y="585788"/>
                      <a:pt x="339920" y="585788"/>
                    </a:cubicBezTo>
                    <a:cubicBezTo>
                      <a:pt x="301431" y="585788"/>
                      <a:pt x="301431" y="585788"/>
                      <a:pt x="301431" y="585788"/>
                    </a:cubicBezTo>
                    <a:close/>
                    <a:moveTo>
                      <a:pt x="203168" y="585788"/>
                    </a:moveTo>
                    <a:cubicBezTo>
                      <a:pt x="193806" y="585788"/>
                      <a:pt x="187325" y="592916"/>
                      <a:pt x="187325" y="601469"/>
                    </a:cubicBezTo>
                    <a:cubicBezTo>
                      <a:pt x="187325" y="639958"/>
                      <a:pt x="187325" y="639958"/>
                      <a:pt x="187325" y="639958"/>
                    </a:cubicBezTo>
                    <a:cubicBezTo>
                      <a:pt x="187325" y="648511"/>
                      <a:pt x="193806" y="655638"/>
                      <a:pt x="203168" y="655638"/>
                    </a:cubicBezTo>
                    <a:cubicBezTo>
                      <a:pt x="241333" y="655638"/>
                      <a:pt x="241333" y="655638"/>
                      <a:pt x="241333" y="655638"/>
                    </a:cubicBezTo>
                    <a:cubicBezTo>
                      <a:pt x="249974" y="655638"/>
                      <a:pt x="257175" y="648511"/>
                      <a:pt x="257175" y="639958"/>
                    </a:cubicBezTo>
                    <a:cubicBezTo>
                      <a:pt x="257175" y="601469"/>
                      <a:pt x="257175" y="601469"/>
                      <a:pt x="257175" y="601469"/>
                    </a:cubicBezTo>
                    <a:cubicBezTo>
                      <a:pt x="257175" y="592916"/>
                      <a:pt x="249974" y="585788"/>
                      <a:pt x="241333" y="585788"/>
                    </a:cubicBezTo>
                    <a:cubicBezTo>
                      <a:pt x="203168" y="585788"/>
                      <a:pt x="203168" y="585788"/>
                      <a:pt x="203168" y="585788"/>
                    </a:cubicBezTo>
                    <a:close/>
                    <a:moveTo>
                      <a:pt x="1123156" y="463550"/>
                    </a:moveTo>
                    <a:cubicBezTo>
                      <a:pt x="1085894" y="463550"/>
                      <a:pt x="1055687" y="494823"/>
                      <a:pt x="1055687" y="533400"/>
                    </a:cubicBezTo>
                    <a:cubicBezTo>
                      <a:pt x="1055687" y="571977"/>
                      <a:pt x="1085894" y="603250"/>
                      <a:pt x="1123156" y="603250"/>
                    </a:cubicBezTo>
                    <a:cubicBezTo>
                      <a:pt x="1160418" y="603250"/>
                      <a:pt x="1190625" y="571977"/>
                      <a:pt x="1190625" y="533400"/>
                    </a:cubicBezTo>
                    <a:cubicBezTo>
                      <a:pt x="1190625" y="494823"/>
                      <a:pt x="1160418" y="463550"/>
                      <a:pt x="1123156" y="463550"/>
                    </a:cubicBezTo>
                    <a:close/>
                    <a:moveTo>
                      <a:pt x="361210" y="0"/>
                    </a:moveTo>
                    <a:cubicBezTo>
                      <a:pt x="369777" y="0"/>
                      <a:pt x="376915" y="7135"/>
                      <a:pt x="376915" y="15697"/>
                    </a:cubicBezTo>
                    <a:cubicBezTo>
                      <a:pt x="376915" y="15697"/>
                      <a:pt x="376915" y="15697"/>
                      <a:pt x="376915" y="357471"/>
                    </a:cubicBezTo>
                    <a:cubicBezTo>
                      <a:pt x="376915" y="357471"/>
                      <a:pt x="376915" y="357471"/>
                      <a:pt x="1289220" y="357471"/>
                    </a:cubicBezTo>
                    <a:cubicBezTo>
                      <a:pt x="1297787" y="357471"/>
                      <a:pt x="1304925" y="364606"/>
                      <a:pt x="1304925" y="373169"/>
                    </a:cubicBezTo>
                    <a:cubicBezTo>
                      <a:pt x="1304925" y="373169"/>
                      <a:pt x="1304925" y="373169"/>
                      <a:pt x="1304925" y="774878"/>
                    </a:cubicBezTo>
                    <a:cubicBezTo>
                      <a:pt x="1304925" y="783440"/>
                      <a:pt x="1297787" y="790575"/>
                      <a:pt x="1289220" y="790575"/>
                    </a:cubicBezTo>
                    <a:cubicBezTo>
                      <a:pt x="1289220" y="790575"/>
                      <a:pt x="1289220" y="790575"/>
                      <a:pt x="15705" y="790575"/>
                    </a:cubicBezTo>
                    <a:cubicBezTo>
                      <a:pt x="7139" y="790575"/>
                      <a:pt x="0" y="783440"/>
                      <a:pt x="0" y="774878"/>
                    </a:cubicBezTo>
                    <a:cubicBezTo>
                      <a:pt x="0" y="774878"/>
                      <a:pt x="0" y="774878"/>
                      <a:pt x="0" y="373169"/>
                    </a:cubicBezTo>
                    <a:cubicBezTo>
                      <a:pt x="0" y="364606"/>
                      <a:pt x="7139" y="357471"/>
                      <a:pt x="15705" y="357471"/>
                    </a:cubicBezTo>
                    <a:cubicBezTo>
                      <a:pt x="15705" y="357471"/>
                      <a:pt x="15705" y="357471"/>
                      <a:pt x="345506" y="357471"/>
                    </a:cubicBezTo>
                    <a:cubicBezTo>
                      <a:pt x="345506" y="357471"/>
                      <a:pt x="345506" y="357471"/>
                      <a:pt x="345506" y="15697"/>
                    </a:cubicBezTo>
                    <a:cubicBezTo>
                      <a:pt x="345506" y="7135"/>
                      <a:pt x="352644" y="0"/>
                      <a:pt x="361210" y="0"/>
                    </a:cubicBezTo>
                    <a:close/>
                  </a:path>
                </a:pathLst>
              </a:custGeom>
              <a:solidFill>
                <a:srgbClr val="FFFFFF"/>
              </a:solidFill>
              <a:ln>
                <a:noFill/>
              </a:ln>
            </p:spPr>
            <p:txBody>
              <a:bodyPr vert="horz" wrap="square" lIns="66659" tIns="33330" rIns="66659" bIns="33330" numCol="1" anchor="t" anchorCtr="0" compatLnSpc="1">
                <a:prstTxWarp prst="textNoShape">
                  <a:avLst/>
                </a:prstTxWarp>
                <a:noAutofit/>
              </a:bodyPr>
              <a:lstStyle/>
              <a:p>
                <a:endParaRPr lang="en-US">
                  <a:solidFill>
                    <a:srgbClr val="ED1B24"/>
                  </a:solidFill>
                </a:endParaRPr>
              </a:p>
            </p:txBody>
          </p:sp>
          <p:sp>
            <p:nvSpPr>
              <p:cNvPr id="95" name="Freeform 16">
                <a:extLst>
                  <a:ext uri="{FF2B5EF4-FFF2-40B4-BE49-F238E27FC236}">
                    <a16:creationId xmlns:a16="http://schemas.microsoft.com/office/drawing/2014/main" id="{E074560F-884E-27F3-7CF9-7618CEDB135E}"/>
                  </a:ext>
                </a:extLst>
              </p:cNvPr>
              <p:cNvSpPr>
                <a:spLocks/>
              </p:cNvSpPr>
              <p:nvPr/>
            </p:nvSpPr>
            <p:spPr bwMode="auto">
              <a:xfrm>
                <a:off x="5580426" y="2876410"/>
                <a:ext cx="449883" cy="262247"/>
              </a:xfrm>
              <a:custGeom>
                <a:avLst/>
                <a:gdLst>
                  <a:gd name="connsiteX0" fmla="*/ 206933 w 449883"/>
                  <a:gd name="connsiteY0" fmla="*/ 201955 h 262247"/>
                  <a:gd name="connsiteX1" fmla="*/ 314045 w 449883"/>
                  <a:gd name="connsiteY1" fmla="*/ 233165 h 262247"/>
                  <a:gd name="connsiteX2" fmla="*/ 316188 w 449883"/>
                  <a:gd name="connsiteY2" fmla="*/ 255863 h 262247"/>
                  <a:gd name="connsiteX3" fmla="*/ 303334 w 449883"/>
                  <a:gd name="connsiteY3" fmla="*/ 262247 h 262247"/>
                  <a:gd name="connsiteX4" fmla="*/ 293337 w 449883"/>
                  <a:gd name="connsiteY4" fmla="*/ 258700 h 262247"/>
                  <a:gd name="connsiteX5" fmla="*/ 160518 w 449883"/>
                  <a:gd name="connsiteY5" fmla="*/ 257281 h 262247"/>
                  <a:gd name="connsiteX6" fmla="*/ 136953 w 449883"/>
                  <a:gd name="connsiteY6" fmla="*/ 257281 h 262247"/>
                  <a:gd name="connsiteX7" fmla="*/ 136953 w 449883"/>
                  <a:gd name="connsiteY7" fmla="*/ 234583 h 262247"/>
                  <a:gd name="connsiteX8" fmla="*/ 206933 w 449883"/>
                  <a:gd name="connsiteY8" fmla="*/ 201955 h 262247"/>
                  <a:gd name="connsiteX9" fmla="*/ 242849 w 449883"/>
                  <a:gd name="connsiteY9" fmla="*/ 101042 h 262247"/>
                  <a:gd name="connsiteX10" fmla="*/ 379976 w 449883"/>
                  <a:gd name="connsiteY10" fmla="*/ 157577 h 262247"/>
                  <a:gd name="connsiteX11" fmla="*/ 382842 w 449883"/>
                  <a:gd name="connsiteY11" fmla="*/ 181184 h 262247"/>
                  <a:gd name="connsiteX12" fmla="*/ 369946 w 449883"/>
                  <a:gd name="connsiteY12" fmla="*/ 187622 h 262247"/>
                  <a:gd name="connsiteX13" fmla="*/ 359915 w 449883"/>
                  <a:gd name="connsiteY13" fmla="*/ 184046 h 262247"/>
                  <a:gd name="connsiteX14" fmla="*/ 94817 w 449883"/>
                  <a:gd name="connsiteY14" fmla="*/ 182615 h 262247"/>
                  <a:gd name="connsiteX15" fmla="*/ 70456 w 449883"/>
                  <a:gd name="connsiteY15" fmla="*/ 181900 h 262247"/>
                  <a:gd name="connsiteX16" fmla="*/ 71173 w 449883"/>
                  <a:gd name="connsiteY16" fmla="*/ 159008 h 262247"/>
                  <a:gd name="connsiteX17" fmla="*/ 161449 w 449883"/>
                  <a:gd name="connsiteY17" fmla="*/ 108933 h 262247"/>
                  <a:gd name="connsiteX18" fmla="*/ 204438 w 449883"/>
                  <a:gd name="connsiteY18" fmla="*/ 101064 h 262247"/>
                  <a:gd name="connsiteX19" fmla="*/ 242849 w 449883"/>
                  <a:gd name="connsiteY19" fmla="*/ 101042 h 262247"/>
                  <a:gd name="connsiteX20" fmla="*/ 194674 w 449883"/>
                  <a:gd name="connsiteY20" fmla="*/ 1097 h 262247"/>
                  <a:gd name="connsiteX21" fmla="*/ 443494 w 449883"/>
                  <a:gd name="connsiteY21" fmla="*/ 85448 h 262247"/>
                  <a:gd name="connsiteX22" fmla="*/ 446354 w 449883"/>
                  <a:gd name="connsiteY22" fmla="*/ 109753 h 262247"/>
                  <a:gd name="connsiteX23" fmla="*/ 433484 w 449883"/>
                  <a:gd name="connsiteY23" fmla="*/ 115472 h 262247"/>
                  <a:gd name="connsiteX24" fmla="*/ 424189 w 449883"/>
                  <a:gd name="connsiteY24" fmla="*/ 112612 h 262247"/>
                  <a:gd name="connsiteX25" fmla="*/ 143909 w 449883"/>
                  <a:gd name="connsiteY25" fmla="*/ 45417 h 262247"/>
                  <a:gd name="connsiteX26" fmla="*/ 28079 w 449883"/>
                  <a:gd name="connsiteY26" fmla="*/ 111183 h 262247"/>
                  <a:gd name="connsiteX27" fmla="*/ 4484 w 449883"/>
                  <a:gd name="connsiteY27" fmla="*/ 110468 h 262247"/>
                  <a:gd name="connsiteX28" fmla="*/ 5199 w 449883"/>
                  <a:gd name="connsiteY28" fmla="*/ 86878 h 262247"/>
                  <a:gd name="connsiteX29" fmla="*/ 133184 w 449883"/>
                  <a:gd name="connsiteY29" fmla="*/ 13249 h 262247"/>
                  <a:gd name="connsiteX30" fmla="*/ 194674 w 449883"/>
                  <a:gd name="connsiteY30" fmla="*/ 1097 h 26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49883" h="262247">
                    <a:moveTo>
                      <a:pt x="206933" y="201955"/>
                    </a:moveTo>
                    <a:cubicBezTo>
                      <a:pt x="238353" y="196990"/>
                      <a:pt x="275485" y="203374"/>
                      <a:pt x="314045" y="233165"/>
                    </a:cubicBezTo>
                    <a:cubicBezTo>
                      <a:pt x="321186" y="238130"/>
                      <a:pt x="321900" y="248770"/>
                      <a:pt x="316188" y="255863"/>
                    </a:cubicBezTo>
                    <a:cubicBezTo>
                      <a:pt x="313331" y="260119"/>
                      <a:pt x="308333" y="262247"/>
                      <a:pt x="303334" y="262247"/>
                    </a:cubicBezTo>
                    <a:cubicBezTo>
                      <a:pt x="299764" y="262247"/>
                      <a:pt x="296193" y="260828"/>
                      <a:pt x="293337" y="258700"/>
                    </a:cubicBezTo>
                    <a:cubicBezTo>
                      <a:pt x="219787" y="202665"/>
                      <a:pt x="162660" y="255153"/>
                      <a:pt x="160518" y="257281"/>
                    </a:cubicBezTo>
                    <a:cubicBezTo>
                      <a:pt x="154091" y="263665"/>
                      <a:pt x="143380" y="263665"/>
                      <a:pt x="136953" y="257281"/>
                    </a:cubicBezTo>
                    <a:cubicBezTo>
                      <a:pt x="129812" y="250898"/>
                      <a:pt x="129812" y="240258"/>
                      <a:pt x="136953" y="234583"/>
                    </a:cubicBezTo>
                    <a:cubicBezTo>
                      <a:pt x="150521" y="221107"/>
                      <a:pt x="175513" y="206211"/>
                      <a:pt x="206933" y="201955"/>
                    </a:cubicBezTo>
                    <a:close/>
                    <a:moveTo>
                      <a:pt x="242849" y="101042"/>
                    </a:moveTo>
                    <a:cubicBezTo>
                      <a:pt x="283520" y="104596"/>
                      <a:pt x="330539" y="120021"/>
                      <a:pt x="379976" y="157577"/>
                    </a:cubicBezTo>
                    <a:cubicBezTo>
                      <a:pt x="387141" y="163300"/>
                      <a:pt x="388574" y="173315"/>
                      <a:pt x="382842" y="181184"/>
                    </a:cubicBezTo>
                    <a:cubicBezTo>
                      <a:pt x="379976" y="185476"/>
                      <a:pt x="374961" y="187622"/>
                      <a:pt x="369946" y="187622"/>
                    </a:cubicBezTo>
                    <a:cubicBezTo>
                      <a:pt x="366363" y="187622"/>
                      <a:pt x="362781" y="186192"/>
                      <a:pt x="359915" y="184046"/>
                    </a:cubicBezTo>
                    <a:cubicBezTo>
                      <a:pt x="213036" y="73165"/>
                      <a:pt x="99832" y="178323"/>
                      <a:pt x="94817" y="182615"/>
                    </a:cubicBezTo>
                    <a:cubicBezTo>
                      <a:pt x="88368" y="189053"/>
                      <a:pt x="77621" y="189053"/>
                      <a:pt x="70456" y="181900"/>
                    </a:cubicBezTo>
                    <a:cubicBezTo>
                      <a:pt x="64724" y="175461"/>
                      <a:pt x="64724" y="164731"/>
                      <a:pt x="71173" y="159008"/>
                    </a:cubicBezTo>
                    <a:cubicBezTo>
                      <a:pt x="73322" y="157577"/>
                      <a:pt x="106997" y="125386"/>
                      <a:pt x="161449" y="108933"/>
                    </a:cubicBezTo>
                    <a:cubicBezTo>
                      <a:pt x="174346" y="105356"/>
                      <a:pt x="188676" y="102495"/>
                      <a:pt x="204438" y="101064"/>
                    </a:cubicBezTo>
                    <a:cubicBezTo>
                      <a:pt x="216439" y="99991"/>
                      <a:pt x="229291" y="99857"/>
                      <a:pt x="242849" y="101042"/>
                    </a:cubicBezTo>
                    <a:close/>
                    <a:moveTo>
                      <a:pt x="194674" y="1097"/>
                    </a:moveTo>
                    <a:cubicBezTo>
                      <a:pt x="263314" y="-4622"/>
                      <a:pt x="350544" y="10390"/>
                      <a:pt x="443494" y="85448"/>
                    </a:cubicBezTo>
                    <a:cubicBezTo>
                      <a:pt x="450644" y="91882"/>
                      <a:pt x="452074" y="101890"/>
                      <a:pt x="446354" y="109753"/>
                    </a:cubicBezTo>
                    <a:cubicBezTo>
                      <a:pt x="443494" y="113327"/>
                      <a:pt x="438489" y="115472"/>
                      <a:pt x="433484" y="115472"/>
                    </a:cubicBezTo>
                    <a:cubicBezTo>
                      <a:pt x="429909" y="115472"/>
                      <a:pt x="427049" y="114757"/>
                      <a:pt x="424189" y="112612"/>
                    </a:cubicBezTo>
                    <a:cubicBezTo>
                      <a:pt x="332669" y="39698"/>
                      <a:pt x="238289" y="16823"/>
                      <a:pt x="143909" y="45417"/>
                    </a:cubicBezTo>
                    <a:cubicBezTo>
                      <a:pt x="73124" y="66862"/>
                      <a:pt x="28794" y="110468"/>
                      <a:pt x="28079" y="111183"/>
                    </a:cubicBezTo>
                    <a:cubicBezTo>
                      <a:pt x="21644" y="117616"/>
                      <a:pt x="10919" y="117616"/>
                      <a:pt x="4484" y="110468"/>
                    </a:cubicBezTo>
                    <a:cubicBezTo>
                      <a:pt x="-1951" y="104034"/>
                      <a:pt x="-1236" y="94026"/>
                      <a:pt x="5199" y="86878"/>
                    </a:cubicBezTo>
                    <a:cubicBezTo>
                      <a:pt x="7344" y="84733"/>
                      <a:pt x="55249" y="37554"/>
                      <a:pt x="133184" y="13249"/>
                    </a:cubicBezTo>
                    <a:cubicBezTo>
                      <a:pt x="151059" y="7530"/>
                      <a:pt x="171794" y="3241"/>
                      <a:pt x="194674" y="1097"/>
                    </a:cubicBezTo>
                    <a:close/>
                  </a:path>
                </a:pathLst>
              </a:custGeom>
              <a:solidFill>
                <a:srgbClr val="FFFFFF"/>
              </a:solidFill>
              <a:ln>
                <a:noFill/>
              </a:ln>
            </p:spPr>
            <p:txBody>
              <a:bodyPr vert="horz" wrap="square" lIns="66659" tIns="33330" rIns="66659" bIns="33330" numCol="1" anchor="t" anchorCtr="0" compatLnSpc="1">
                <a:prstTxWarp prst="textNoShape">
                  <a:avLst/>
                </a:prstTxWarp>
                <a:noAutofit/>
              </a:bodyPr>
              <a:lstStyle/>
              <a:p>
                <a:endParaRPr lang="en-US">
                  <a:solidFill>
                    <a:srgbClr val="ED1B24"/>
                  </a:solidFill>
                </a:endParaRPr>
              </a:p>
            </p:txBody>
          </p:sp>
        </p:grpSp>
      </p:grpSp>
      <p:grpSp>
        <p:nvGrpSpPr>
          <p:cNvPr id="96" name="bcgIcons_Alert ">
            <a:extLst>
              <a:ext uri="{FF2B5EF4-FFF2-40B4-BE49-F238E27FC236}">
                <a16:creationId xmlns:a16="http://schemas.microsoft.com/office/drawing/2014/main" id="{020D1F15-D6B2-A2C8-336A-23AC475142CD}"/>
              </a:ext>
            </a:extLst>
          </p:cNvPr>
          <p:cNvGrpSpPr>
            <a:grpSpLocks noChangeAspect="1"/>
          </p:cNvGrpSpPr>
          <p:nvPr/>
        </p:nvGrpSpPr>
        <p:grpSpPr bwMode="auto">
          <a:xfrm>
            <a:off x="6436008" y="4404075"/>
            <a:ext cx="339160" cy="339475"/>
            <a:chOff x="1682" y="0"/>
            <a:chExt cx="4316" cy="4320"/>
          </a:xfrm>
        </p:grpSpPr>
        <p:sp>
          <p:nvSpPr>
            <p:cNvPr id="97" name="AutoShape 3">
              <a:extLst>
                <a:ext uri="{FF2B5EF4-FFF2-40B4-BE49-F238E27FC236}">
                  <a16:creationId xmlns:a16="http://schemas.microsoft.com/office/drawing/2014/main" id="{947FAF0D-09DE-2287-7793-FF3D65BF0F2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5">
              <a:extLst>
                <a:ext uri="{FF2B5EF4-FFF2-40B4-BE49-F238E27FC236}">
                  <a16:creationId xmlns:a16="http://schemas.microsoft.com/office/drawing/2014/main" id="{C43B0A4A-443B-CEC2-AF91-D5A69E78B7DD}"/>
                </a:ext>
              </a:extLst>
            </p:cNvPr>
            <p:cNvSpPr>
              <a:spLocks noEditPoints="1"/>
            </p:cNvSpPr>
            <p:nvPr/>
          </p:nvSpPr>
          <p:spPr bwMode="auto">
            <a:xfrm>
              <a:off x="2188" y="720"/>
              <a:ext cx="3300" cy="2876"/>
            </a:xfrm>
            <a:custGeom>
              <a:avLst/>
              <a:gdLst>
                <a:gd name="T0" fmla="*/ 1716 w 1762"/>
                <a:gd name="T1" fmla="*/ 1534 h 1534"/>
                <a:gd name="T2" fmla="*/ 46 w 1762"/>
                <a:gd name="T3" fmla="*/ 1534 h 1534"/>
                <a:gd name="T4" fmla="*/ 8 w 1762"/>
                <a:gd name="T5" fmla="*/ 1512 h 1534"/>
                <a:gd name="T6" fmla="*/ 8 w 1762"/>
                <a:gd name="T7" fmla="*/ 1468 h 1534"/>
                <a:gd name="T8" fmla="*/ 843 w 1762"/>
                <a:gd name="T9" fmla="*/ 22 h 1534"/>
                <a:gd name="T10" fmla="*/ 881 w 1762"/>
                <a:gd name="T11" fmla="*/ 0 h 1534"/>
                <a:gd name="T12" fmla="*/ 919 w 1762"/>
                <a:gd name="T13" fmla="*/ 22 h 1534"/>
                <a:gd name="T14" fmla="*/ 919 w 1762"/>
                <a:gd name="T15" fmla="*/ 22 h 1534"/>
                <a:gd name="T16" fmla="*/ 1754 w 1762"/>
                <a:gd name="T17" fmla="*/ 1468 h 1534"/>
                <a:gd name="T18" fmla="*/ 1754 w 1762"/>
                <a:gd name="T19" fmla="*/ 1512 h 1534"/>
                <a:gd name="T20" fmla="*/ 1716 w 1762"/>
                <a:gd name="T21" fmla="*/ 1534 h 1534"/>
                <a:gd name="T22" fmla="*/ 881 w 1762"/>
                <a:gd name="T23" fmla="*/ 44 h 1534"/>
                <a:gd name="T24" fmla="*/ 46 w 1762"/>
                <a:gd name="T25" fmla="*/ 1490 h 1534"/>
                <a:gd name="T26" fmla="*/ 1716 w 1762"/>
                <a:gd name="T27" fmla="*/ 1490 h 1534"/>
                <a:gd name="T28" fmla="*/ 881 w 1762"/>
                <a:gd name="T29" fmla="*/ 44 h 1534"/>
                <a:gd name="T30" fmla="*/ 881 w 1762"/>
                <a:gd name="T31" fmla="*/ 44 h 1534"/>
                <a:gd name="T32" fmla="*/ 881 w 1762"/>
                <a:gd name="T33" fmla="*/ 4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2" h="1534">
                  <a:moveTo>
                    <a:pt x="1716" y="1534"/>
                  </a:moveTo>
                  <a:cubicBezTo>
                    <a:pt x="46" y="1534"/>
                    <a:pt x="46" y="1534"/>
                    <a:pt x="46" y="1534"/>
                  </a:cubicBezTo>
                  <a:cubicBezTo>
                    <a:pt x="30" y="1534"/>
                    <a:pt x="16" y="1526"/>
                    <a:pt x="8" y="1512"/>
                  </a:cubicBezTo>
                  <a:cubicBezTo>
                    <a:pt x="0" y="1498"/>
                    <a:pt x="0" y="1482"/>
                    <a:pt x="8" y="1468"/>
                  </a:cubicBezTo>
                  <a:cubicBezTo>
                    <a:pt x="843" y="22"/>
                    <a:pt x="843" y="22"/>
                    <a:pt x="843" y="22"/>
                  </a:cubicBezTo>
                  <a:cubicBezTo>
                    <a:pt x="851" y="8"/>
                    <a:pt x="865" y="0"/>
                    <a:pt x="881" y="0"/>
                  </a:cubicBezTo>
                  <a:cubicBezTo>
                    <a:pt x="897" y="0"/>
                    <a:pt x="911" y="8"/>
                    <a:pt x="919" y="22"/>
                  </a:cubicBezTo>
                  <a:cubicBezTo>
                    <a:pt x="919" y="22"/>
                    <a:pt x="919" y="22"/>
                    <a:pt x="919" y="22"/>
                  </a:cubicBezTo>
                  <a:cubicBezTo>
                    <a:pt x="1754" y="1468"/>
                    <a:pt x="1754" y="1468"/>
                    <a:pt x="1754" y="1468"/>
                  </a:cubicBezTo>
                  <a:cubicBezTo>
                    <a:pt x="1762" y="1482"/>
                    <a:pt x="1762" y="1498"/>
                    <a:pt x="1754" y="1512"/>
                  </a:cubicBezTo>
                  <a:cubicBezTo>
                    <a:pt x="1746" y="1526"/>
                    <a:pt x="1732" y="1534"/>
                    <a:pt x="1716" y="1534"/>
                  </a:cubicBezTo>
                  <a:close/>
                  <a:moveTo>
                    <a:pt x="881" y="44"/>
                  </a:moveTo>
                  <a:cubicBezTo>
                    <a:pt x="46" y="1490"/>
                    <a:pt x="46" y="1490"/>
                    <a:pt x="46" y="1490"/>
                  </a:cubicBezTo>
                  <a:cubicBezTo>
                    <a:pt x="1716" y="1490"/>
                    <a:pt x="1716" y="1490"/>
                    <a:pt x="1716" y="1490"/>
                  </a:cubicBezTo>
                  <a:cubicBezTo>
                    <a:pt x="881" y="44"/>
                    <a:pt x="881" y="44"/>
                    <a:pt x="881" y="44"/>
                  </a:cubicBezTo>
                  <a:cubicBezTo>
                    <a:pt x="881" y="44"/>
                    <a:pt x="881" y="44"/>
                    <a:pt x="881" y="44"/>
                  </a:cubicBezTo>
                  <a:cubicBezTo>
                    <a:pt x="881" y="44"/>
                    <a:pt x="881" y="44"/>
                    <a:pt x="88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659" tIns="33330" rIns="66659" bIns="33330" numCol="1" anchor="t" anchorCtr="0" compatLnSpc="1">
              <a:prstTxWarp prst="textNoShape">
                <a:avLst/>
              </a:prstTxWarp>
            </a:bodyPr>
            <a:lstStyle/>
            <a:p>
              <a:endParaRPr lang="en-US">
                <a:solidFill>
                  <a:srgbClr val="E68900"/>
                </a:solidFill>
              </a:endParaRPr>
            </a:p>
          </p:txBody>
        </p:sp>
        <p:sp>
          <p:nvSpPr>
            <p:cNvPr id="99" name="Freeform 6">
              <a:extLst>
                <a:ext uri="{FF2B5EF4-FFF2-40B4-BE49-F238E27FC236}">
                  <a16:creationId xmlns:a16="http://schemas.microsoft.com/office/drawing/2014/main" id="{C6829EC7-35AE-FB9B-46ED-8F31E5290FCC}"/>
                </a:ext>
              </a:extLst>
            </p:cNvPr>
            <p:cNvSpPr>
              <a:spLocks noEditPoints="1"/>
            </p:cNvSpPr>
            <p:nvPr/>
          </p:nvSpPr>
          <p:spPr bwMode="auto">
            <a:xfrm>
              <a:off x="2426" y="982"/>
              <a:ext cx="2825" cy="2449"/>
            </a:xfrm>
            <a:custGeom>
              <a:avLst/>
              <a:gdLst>
                <a:gd name="T0" fmla="*/ 1504 w 1508"/>
                <a:gd name="T1" fmla="*/ 1291 h 1306"/>
                <a:gd name="T2" fmla="*/ 763 w 1508"/>
                <a:gd name="T3" fmla="*/ 7 h 1306"/>
                <a:gd name="T4" fmla="*/ 745 w 1508"/>
                <a:gd name="T5" fmla="*/ 7 h 1306"/>
                <a:gd name="T6" fmla="*/ 4 w 1508"/>
                <a:gd name="T7" fmla="*/ 1291 h 1306"/>
                <a:gd name="T8" fmla="*/ 13 w 1508"/>
                <a:gd name="T9" fmla="*/ 1306 h 1306"/>
                <a:gd name="T10" fmla="*/ 1495 w 1508"/>
                <a:gd name="T11" fmla="*/ 1306 h 1306"/>
                <a:gd name="T12" fmla="*/ 1504 w 1508"/>
                <a:gd name="T13" fmla="*/ 1291 h 1306"/>
                <a:gd name="T14" fmla="*/ 694 w 1508"/>
                <a:gd name="T15" fmla="*/ 419 h 1306"/>
                <a:gd name="T16" fmla="*/ 814 w 1508"/>
                <a:gd name="T17" fmla="*/ 419 h 1306"/>
                <a:gd name="T18" fmla="*/ 814 w 1508"/>
                <a:gd name="T19" fmla="*/ 608 h 1306"/>
                <a:gd name="T20" fmla="*/ 778 w 1508"/>
                <a:gd name="T21" fmla="*/ 932 h 1306"/>
                <a:gd name="T22" fmla="*/ 730 w 1508"/>
                <a:gd name="T23" fmla="*/ 932 h 1306"/>
                <a:gd name="T24" fmla="*/ 694 w 1508"/>
                <a:gd name="T25" fmla="*/ 608 h 1306"/>
                <a:gd name="T26" fmla="*/ 694 w 1508"/>
                <a:gd name="T27" fmla="*/ 419 h 1306"/>
                <a:gd name="T28" fmla="*/ 808 w 1508"/>
                <a:gd name="T29" fmla="*/ 1095 h 1306"/>
                <a:gd name="T30" fmla="*/ 755 w 1508"/>
                <a:gd name="T31" fmla="*/ 1117 h 1306"/>
                <a:gd name="T32" fmla="*/ 701 w 1508"/>
                <a:gd name="T33" fmla="*/ 1095 h 1306"/>
                <a:gd name="T34" fmla="*/ 678 w 1508"/>
                <a:gd name="T35" fmla="*/ 1041 h 1306"/>
                <a:gd name="T36" fmla="*/ 701 w 1508"/>
                <a:gd name="T37" fmla="*/ 988 h 1306"/>
                <a:gd name="T38" fmla="*/ 755 w 1508"/>
                <a:gd name="T39" fmla="*/ 965 h 1306"/>
                <a:gd name="T40" fmla="*/ 808 w 1508"/>
                <a:gd name="T41" fmla="*/ 988 h 1306"/>
                <a:gd name="T42" fmla="*/ 830 w 1508"/>
                <a:gd name="T43" fmla="*/ 1041 h 1306"/>
                <a:gd name="T44" fmla="*/ 808 w 1508"/>
                <a:gd name="T45" fmla="*/ 1095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8" h="1306">
                  <a:moveTo>
                    <a:pt x="1504" y="1291"/>
                  </a:moveTo>
                  <a:cubicBezTo>
                    <a:pt x="763" y="7"/>
                    <a:pt x="763" y="7"/>
                    <a:pt x="763" y="7"/>
                  </a:cubicBezTo>
                  <a:cubicBezTo>
                    <a:pt x="759" y="0"/>
                    <a:pt x="749" y="0"/>
                    <a:pt x="745" y="7"/>
                  </a:cubicBezTo>
                  <a:cubicBezTo>
                    <a:pt x="4" y="1291"/>
                    <a:pt x="4" y="1291"/>
                    <a:pt x="4" y="1291"/>
                  </a:cubicBezTo>
                  <a:cubicBezTo>
                    <a:pt x="0" y="1298"/>
                    <a:pt x="5" y="1306"/>
                    <a:pt x="13" y="1306"/>
                  </a:cubicBezTo>
                  <a:cubicBezTo>
                    <a:pt x="1495" y="1306"/>
                    <a:pt x="1495" y="1306"/>
                    <a:pt x="1495" y="1306"/>
                  </a:cubicBezTo>
                  <a:cubicBezTo>
                    <a:pt x="1503" y="1306"/>
                    <a:pt x="1508" y="1298"/>
                    <a:pt x="1504" y="1291"/>
                  </a:cubicBezTo>
                  <a:close/>
                  <a:moveTo>
                    <a:pt x="694" y="419"/>
                  </a:moveTo>
                  <a:cubicBezTo>
                    <a:pt x="814" y="419"/>
                    <a:pt x="814" y="419"/>
                    <a:pt x="814" y="419"/>
                  </a:cubicBezTo>
                  <a:cubicBezTo>
                    <a:pt x="814" y="608"/>
                    <a:pt x="814" y="608"/>
                    <a:pt x="814" y="608"/>
                  </a:cubicBezTo>
                  <a:cubicBezTo>
                    <a:pt x="814" y="669"/>
                    <a:pt x="803" y="778"/>
                    <a:pt x="778" y="932"/>
                  </a:cubicBezTo>
                  <a:cubicBezTo>
                    <a:pt x="730" y="932"/>
                    <a:pt x="730" y="932"/>
                    <a:pt x="730" y="932"/>
                  </a:cubicBezTo>
                  <a:cubicBezTo>
                    <a:pt x="706" y="778"/>
                    <a:pt x="694" y="669"/>
                    <a:pt x="694" y="608"/>
                  </a:cubicBezTo>
                  <a:lnTo>
                    <a:pt x="694" y="419"/>
                  </a:lnTo>
                  <a:close/>
                  <a:moveTo>
                    <a:pt x="808" y="1095"/>
                  </a:moveTo>
                  <a:cubicBezTo>
                    <a:pt x="794" y="1110"/>
                    <a:pt x="776" y="1117"/>
                    <a:pt x="755" y="1117"/>
                  </a:cubicBezTo>
                  <a:cubicBezTo>
                    <a:pt x="733" y="1117"/>
                    <a:pt x="715" y="1110"/>
                    <a:pt x="701" y="1095"/>
                  </a:cubicBezTo>
                  <a:cubicBezTo>
                    <a:pt x="686" y="1080"/>
                    <a:pt x="678" y="1063"/>
                    <a:pt x="678" y="1041"/>
                  </a:cubicBezTo>
                  <a:cubicBezTo>
                    <a:pt x="678" y="1020"/>
                    <a:pt x="686" y="1002"/>
                    <a:pt x="701" y="988"/>
                  </a:cubicBezTo>
                  <a:cubicBezTo>
                    <a:pt x="715" y="973"/>
                    <a:pt x="733" y="965"/>
                    <a:pt x="755" y="965"/>
                  </a:cubicBezTo>
                  <a:cubicBezTo>
                    <a:pt x="776" y="965"/>
                    <a:pt x="794" y="973"/>
                    <a:pt x="808" y="988"/>
                  </a:cubicBezTo>
                  <a:cubicBezTo>
                    <a:pt x="823" y="1002"/>
                    <a:pt x="830" y="1020"/>
                    <a:pt x="830" y="1041"/>
                  </a:cubicBezTo>
                  <a:cubicBezTo>
                    <a:pt x="830" y="1063"/>
                    <a:pt x="823" y="1080"/>
                    <a:pt x="808" y="10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659" tIns="33330" rIns="66659" bIns="33330" numCol="1" anchor="t" anchorCtr="0" compatLnSpc="1">
              <a:prstTxWarp prst="textNoShape">
                <a:avLst/>
              </a:prstTxWarp>
            </a:bodyPr>
            <a:lstStyle/>
            <a:p>
              <a:endParaRPr lang="en-US">
                <a:solidFill>
                  <a:srgbClr val="E68900"/>
                </a:solidFill>
              </a:endParaRPr>
            </a:p>
          </p:txBody>
        </p:sp>
      </p:grpSp>
      <p:grpSp>
        <p:nvGrpSpPr>
          <p:cNvPr id="100" name="bcgIcons_Public Health ">
            <a:extLst>
              <a:ext uri="{FF2B5EF4-FFF2-40B4-BE49-F238E27FC236}">
                <a16:creationId xmlns:a16="http://schemas.microsoft.com/office/drawing/2014/main" id="{6FDACEB9-BAD0-2574-B1CA-C262C0E9FE3D}"/>
              </a:ext>
            </a:extLst>
          </p:cNvPr>
          <p:cNvGrpSpPr>
            <a:grpSpLocks noChangeAspect="1"/>
          </p:cNvGrpSpPr>
          <p:nvPr/>
        </p:nvGrpSpPr>
        <p:grpSpPr>
          <a:xfrm>
            <a:off x="6435686" y="5061421"/>
            <a:ext cx="339803" cy="339475"/>
            <a:chOff x="6464300" y="2606675"/>
            <a:chExt cx="1646238" cy="1644650"/>
          </a:xfrm>
        </p:grpSpPr>
        <p:sp>
          <p:nvSpPr>
            <p:cNvPr id="101" name="AutoShape 3">
              <a:extLst>
                <a:ext uri="{FF2B5EF4-FFF2-40B4-BE49-F238E27FC236}">
                  <a16:creationId xmlns:a16="http://schemas.microsoft.com/office/drawing/2014/main" id="{D567B770-10F1-4A54-B50D-29D343D09493}"/>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2" name="Group 101">
              <a:extLst>
                <a:ext uri="{FF2B5EF4-FFF2-40B4-BE49-F238E27FC236}">
                  <a16:creationId xmlns:a16="http://schemas.microsoft.com/office/drawing/2014/main" id="{5DB3569E-566F-4CF6-8106-EEF1A048B215}"/>
                </a:ext>
              </a:extLst>
            </p:cNvPr>
            <p:cNvGrpSpPr/>
            <p:nvPr/>
          </p:nvGrpSpPr>
          <p:grpSpPr>
            <a:xfrm>
              <a:off x="6729413" y="2882900"/>
              <a:ext cx="1123838" cy="1123951"/>
              <a:chOff x="6729413" y="2882900"/>
              <a:chExt cx="1123838" cy="1123951"/>
            </a:xfrm>
          </p:grpSpPr>
          <p:sp>
            <p:nvSpPr>
              <p:cNvPr id="103" name="Freeform 10">
                <a:extLst>
                  <a:ext uri="{FF2B5EF4-FFF2-40B4-BE49-F238E27FC236}">
                    <a16:creationId xmlns:a16="http://schemas.microsoft.com/office/drawing/2014/main" id="{48D9599A-0A4C-6180-FF77-116F2373F0B1}"/>
                  </a:ext>
                </a:extLst>
              </p:cNvPr>
              <p:cNvSpPr>
                <a:spLocks/>
              </p:cNvSpPr>
              <p:nvPr/>
            </p:nvSpPr>
            <p:spPr bwMode="auto">
              <a:xfrm>
                <a:off x="7097713" y="2882900"/>
                <a:ext cx="639763" cy="595313"/>
              </a:xfrm>
              <a:custGeom>
                <a:avLst/>
                <a:gdLst>
                  <a:gd name="T0" fmla="*/ 869 w 894"/>
                  <a:gd name="T1" fmla="*/ 310 h 833"/>
                  <a:gd name="T2" fmla="*/ 583 w 894"/>
                  <a:gd name="T3" fmla="*/ 310 h 833"/>
                  <a:gd name="T4" fmla="*/ 583 w 894"/>
                  <a:gd name="T5" fmla="*/ 26 h 833"/>
                  <a:gd name="T6" fmla="*/ 557 w 894"/>
                  <a:gd name="T7" fmla="*/ 0 h 833"/>
                  <a:gd name="T8" fmla="*/ 337 w 894"/>
                  <a:gd name="T9" fmla="*/ 0 h 833"/>
                  <a:gd name="T10" fmla="*/ 311 w 894"/>
                  <a:gd name="T11" fmla="*/ 26 h 833"/>
                  <a:gd name="T12" fmla="*/ 311 w 894"/>
                  <a:gd name="T13" fmla="*/ 310 h 833"/>
                  <a:gd name="T14" fmla="*/ 25 w 894"/>
                  <a:gd name="T15" fmla="*/ 310 h 833"/>
                  <a:gd name="T16" fmla="*/ 0 w 894"/>
                  <a:gd name="T17" fmla="*/ 336 h 833"/>
                  <a:gd name="T18" fmla="*/ 0 w 894"/>
                  <a:gd name="T19" fmla="*/ 555 h 833"/>
                  <a:gd name="T20" fmla="*/ 25 w 894"/>
                  <a:gd name="T21" fmla="*/ 579 h 833"/>
                  <a:gd name="T22" fmla="*/ 311 w 894"/>
                  <a:gd name="T23" fmla="*/ 579 h 833"/>
                  <a:gd name="T24" fmla="*/ 311 w 894"/>
                  <a:gd name="T25" fmla="*/ 701 h 833"/>
                  <a:gd name="T26" fmla="*/ 311 w 894"/>
                  <a:gd name="T27" fmla="*/ 774 h 833"/>
                  <a:gd name="T28" fmla="*/ 311 w 894"/>
                  <a:gd name="T29" fmla="*/ 785 h 833"/>
                  <a:gd name="T30" fmla="*/ 488 w 894"/>
                  <a:gd name="T31" fmla="*/ 794 h 833"/>
                  <a:gd name="T32" fmla="*/ 583 w 894"/>
                  <a:gd name="T33" fmla="*/ 833 h 833"/>
                  <a:gd name="T34" fmla="*/ 583 w 894"/>
                  <a:gd name="T35" fmla="*/ 787 h 833"/>
                  <a:gd name="T36" fmla="*/ 583 w 894"/>
                  <a:gd name="T37" fmla="*/ 787 h 833"/>
                  <a:gd name="T38" fmla="*/ 583 w 894"/>
                  <a:gd name="T39" fmla="*/ 579 h 833"/>
                  <a:gd name="T40" fmla="*/ 869 w 894"/>
                  <a:gd name="T41" fmla="*/ 579 h 833"/>
                  <a:gd name="T42" fmla="*/ 894 w 894"/>
                  <a:gd name="T43" fmla="*/ 555 h 833"/>
                  <a:gd name="T44" fmla="*/ 894 w 894"/>
                  <a:gd name="T45" fmla="*/ 336 h 833"/>
                  <a:gd name="T46" fmla="*/ 869 w 894"/>
                  <a:gd name="T47" fmla="*/ 31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4" h="833">
                    <a:moveTo>
                      <a:pt x="869" y="310"/>
                    </a:moveTo>
                    <a:cubicBezTo>
                      <a:pt x="869" y="310"/>
                      <a:pt x="869" y="310"/>
                      <a:pt x="583" y="310"/>
                    </a:cubicBezTo>
                    <a:cubicBezTo>
                      <a:pt x="583" y="310"/>
                      <a:pt x="583" y="310"/>
                      <a:pt x="583" y="26"/>
                    </a:cubicBezTo>
                    <a:cubicBezTo>
                      <a:pt x="583" y="12"/>
                      <a:pt x="571" y="0"/>
                      <a:pt x="557" y="0"/>
                    </a:cubicBezTo>
                    <a:cubicBezTo>
                      <a:pt x="557" y="0"/>
                      <a:pt x="557" y="0"/>
                      <a:pt x="337" y="0"/>
                    </a:cubicBezTo>
                    <a:cubicBezTo>
                      <a:pt x="323" y="0"/>
                      <a:pt x="311" y="12"/>
                      <a:pt x="311" y="26"/>
                    </a:cubicBezTo>
                    <a:cubicBezTo>
                      <a:pt x="311" y="26"/>
                      <a:pt x="311" y="26"/>
                      <a:pt x="311" y="310"/>
                    </a:cubicBezTo>
                    <a:cubicBezTo>
                      <a:pt x="311" y="310"/>
                      <a:pt x="311" y="310"/>
                      <a:pt x="25" y="310"/>
                    </a:cubicBezTo>
                    <a:cubicBezTo>
                      <a:pt x="11" y="310"/>
                      <a:pt x="0" y="322"/>
                      <a:pt x="0" y="336"/>
                    </a:cubicBezTo>
                    <a:cubicBezTo>
                      <a:pt x="0" y="336"/>
                      <a:pt x="0" y="336"/>
                      <a:pt x="0" y="555"/>
                    </a:cubicBezTo>
                    <a:cubicBezTo>
                      <a:pt x="0" y="569"/>
                      <a:pt x="11" y="579"/>
                      <a:pt x="25" y="579"/>
                    </a:cubicBezTo>
                    <a:cubicBezTo>
                      <a:pt x="25" y="579"/>
                      <a:pt x="25" y="579"/>
                      <a:pt x="311" y="579"/>
                    </a:cubicBezTo>
                    <a:cubicBezTo>
                      <a:pt x="311" y="579"/>
                      <a:pt x="311" y="579"/>
                      <a:pt x="311" y="701"/>
                    </a:cubicBezTo>
                    <a:cubicBezTo>
                      <a:pt x="311" y="722"/>
                      <a:pt x="311" y="746"/>
                      <a:pt x="311" y="774"/>
                    </a:cubicBezTo>
                    <a:cubicBezTo>
                      <a:pt x="311" y="785"/>
                      <a:pt x="311" y="785"/>
                      <a:pt x="311" y="785"/>
                    </a:cubicBezTo>
                    <a:cubicBezTo>
                      <a:pt x="488" y="794"/>
                      <a:pt x="488" y="794"/>
                      <a:pt x="488" y="794"/>
                    </a:cubicBezTo>
                    <a:cubicBezTo>
                      <a:pt x="525" y="796"/>
                      <a:pt x="558" y="811"/>
                      <a:pt x="583" y="833"/>
                    </a:cubicBezTo>
                    <a:cubicBezTo>
                      <a:pt x="583" y="787"/>
                      <a:pt x="583" y="787"/>
                      <a:pt x="583" y="787"/>
                    </a:cubicBezTo>
                    <a:cubicBezTo>
                      <a:pt x="583" y="787"/>
                      <a:pt x="583" y="787"/>
                      <a:pt x="583" y="787"/>
                    </a:cubicBezTo>
                    <a:cubicBezTo>
                      <a:pt x="583" y="787"/>
                      <a:pt x="583" y="787"/>
                      <a:pt x="583" y="579"/>
                    </a:cubicBezTo>
                    <a:cubicBezTo>
                      <a:pt x="583" y="579"/>
                      <a:pt x="583" y="579"/>
                      <a:pt x="869" y="579"/>
                    </a:cubicBezTo>
                    <a:cubicBezTo>
                      <a:pt x="883" y="579"/>
                      <a:pt x="894" y="569"/>
                      <a:pt x="894" y="555"/>
                    </a:cubicBezTo>
                    <a:cubicBezTo>
                      <a:pt x="894" y="555"/>
                      <a:pt x="894" y="555"/>
                      <a:pt x="894" y="336"/>
                    </a:cubicBezTo>
                    <a:cubicBezTo>
                      <a:pt x="894" y="322"/>
                      <a:pt x="883" y="310"/>
                      <a:pt x="869" y="310"/>
                    </a:cubicBezTo>
                    <a:close/>
                  </a:path>
                </a:pathLst>
              </a:custGeom>
              <a:solidFill>
                <a:srgbClr val="FFFFFF"/>
              </a:solidFill>
              <a:ln>
                <a:noFill/>
              </a:ln>
            </p:spPr>
            <p:txBody>
              <a:bodyPr vert="horz" wrap="square" lIns="66659" tIns="33330" rIns="66659" bIns="33330" numCol="1" anchor="t" anchorCtr="0" compatLnSpc="1">
                <a:prstTxWarp prst="textNoShape">
                  <a:avLst/>
                </a:prstTxWarp>
              </a:bodyPr>
              <a:lstStyle/>
              <a:p>
                <a:endParaRPr lang="en-US">
                  <a:solidFill>
                    <a:srgbClr val="E68900"/>
                  </a:solidFill>
                </a:endParaRPr>
              </a:p>
            </p:txBody>
          </p:sp>
          <p:sp>
            <p:nvSpPr>
              <p:cNvPr id="104" name="Freeform 16">
                <a:extLst>
                  <a:ext uri="{FF2B5EF4-FFF2-40B4-BE49-F238E27FC236}">
                    <a16:creationId xmlns:a16="http://schemas.microsoft.com/office/drawing/2014/main" id="{34028235-9118-8D93-77C2-92C82F4144DC}"/>
                  </a:ext>
                </a:extLst>
              </p:cNvPr>
              <p:cNvSpPr>
                <a:spLocks/>
              </p:cNvSpPr>
              <p:nvPr/>
            </p:nvSpPr>
            <p:spPr bwMode="auto">
              <a:xfrm>
                <a:off x="6729413" y="3465513"/>
                <a:ext cx="1123838" cy="541338"/>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solidFill>
                <a:srgbClr val="FFFFFF"/>
              </a:solidFill>
              <a:ln>
                <a:noFill/>
              </a:ln>
            </p:spPr>
            <p:txBody>
              <a:bodyPr vert="horz" wrap="square" lIns="66659" tIns="33330" rIns="66659" bIns="33330" numCol="1" anchor="t" anchorCtr="0" compatLnSpc="1">
                <a:prstTxWarp prst="textNoShape">
                  <a:avLst/>
                </a:prstTxWarp>
                <a:noAutofit/>
              </a:bodyPr>
              <a:lstStyle/>
              <a:p>
                <a:endParaRPr lang="en-US">
                  <a:solidFill>
                    <a:srgbClr val="E68900"/>
                  </a:solidFill>
                </a:endParaRPr>
              </a:p>
            </p:txBody>
          </p:sp>
        </p:grpSp>
      </p:grpSp>
      <p:grpSp>
        <p:nvGrpSpPr>
          <p:cNvPr id="105" name="bcgIcons_Cash withdrawal ">
            <a:extLst>
              <a:ext uri="{FF2B5EF4-FFF2-40B4-BE49-F238E27FC236}">
                <a16:creationId xmlns:a16="http://schemas.microsoft.com/office/drawing/2014/main" id="{C146FF14-1615-779E-12BC-71D81683BD8D}"/>
              </a:ext>
            </a:extLst>
          </p:cNvPr>
          <p:cNvGrpSpPr>
            <a:grpSpLocks noChangeAspect="1"/>
          </p:cNvGrpSpPr>
          <p:nvPr/>
        </p:nvGrpSpPr>
        <p:grpSpPr>
          <a:xfrm>
            <a:off x="6435850" y="5718769"/>
            <a:ext cx="339475" cy="339475"/>
            <a:chOff x="5272088" y="2606675"/>
            <a:chExt cx="1646237" cy="1646238"/>
          </a:xfrm>
          <a:effectLst/>
        </p:grpSpPr>
        <p:sp>
          <p:nvSpPr>
            <p:cNvPr id="106" name="AutoShape 3">
              <a:extLst>
                <a:ext uri="{FF2B5EF4-FFF2-40B4-BE49-F238E27FC236}">
                  <a16:creationId xmlns:a16="http://schemas.microsoft.com/office/drawing/2014/main" id="{7573023E-43EC-FB6C-EB72-90B6F61BFA5B}"/>
                </a:ext>
              </a:extLst>
            </p:cNvPr>
            <p:cNvSpPr>
              <a:spLocks noChangeAspect="1" noChangeArrowheads="1" noTextEdit="1"/>
            </p:cNvSpPr>
            <p:nvPr/>
          </p:nvSpPr>
          <p:spPr bwMode="auto">
            <a:xfrm>
              <a:off x="5272088" y="2606675"/>
              <a:ext cx="1646237"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7" name="Group 106">
              <a:extLst>
                <a:ext uri="{FF2B5EF4-FFF2-40B4-BE49-F238E27FC236}">
                  <a16:creationId xmlns:a16="http://schemas.microsoft.com/office/drawing/2014/main" id="{5699CE5F-7460-BB92-A5F4-5DA01C2D61C3}"/>
                </a:ext>
              </a:extLst>
            </p:cNvPr>
            <p:cNvGrpSpPr/>
            <p:nvPr/>
          </p:nvGrpSpPr>
          <p:grpSpPr>
            <a:xfrm>
              <a:off x="5545138" y="2905125"/>
              <a:ext cx="1100137" cy="1074738"/>
              <a:chOff x="5545138" y="2905125"/>
              <a:chExt cx="1100137" cy="1074738"/>
            </a:xfrm>
          </p:grpSpPr>
          <p:sp>
            <p:nvSpPr>
              <p:cNvPr id="108" name="Freeform 11">
                <a:extLst>
                  <a:ext uri="{FF2B5EF4-FFF2-40B4-BE49-F238E27FC236}">
                    <a16:creationId xmlns:a16="http://schemas.microsoft.com/office/drawing/2014/main" id="{7893C17A-74AE-EC28-4216-4EC5381FB926}"/>
                  </a:ext>
                </a:extLst>
              </p:cNvPr>
              <p:cNvSpPr>
                <a:spLocks/>
              </p:cNvSpPr>
              <p:nvPr/>
            </p:nvSpPr>
            <p:spPr bwMode="auto">
              <a:xfrm>
                <a:off x="5810250" y="3406775"/>
                <a:ext cx="557212" cy="473075"/>
              </a:xfrm>
              <a:custGeom>
                <a:avLst/>
                <a:gdLst>
                  <a:gd name="T0" fmla="*/ 611 w 781"/>
                  <a:gd name="T1" fmla="*/ 20 h 662"/>
                  <a:gd name="T2" fmla="*/ 612 w 781"/>
                  <a:gd name="T3" fmla="*/ 0 h 662"/>
                  <a:gd name="T4" fmla="*/ 302 w 781"/>
                  <a:gd name="T5" fmla="*/ 0 h 662"/>
                  <a:gd name="T6" fmla="*/ 410 w 781"/>
                  <a:gd name="T7" fmla="*/ 198 h 662"/>
                  <a:gd name="T8" fmla="*/ 426 w 781"/>
                  <a:gd name="T9" fmla="*/ 402 h 662"/>
                  <a:gd name="T10" fmla="*/ 253 w 781"/>
                  <a:gd name="T11" fmla="*/ 507 h 662"/>
                  <a:gd name="T12" fmla="*/ 245 w 781"/>
                  <a:gd name="T13" fmla="*/ 507 h 662"/>
                  <a:gd name="T14" fmla="*/ 64 w 781"/>
                  <a:gd name="T15" fmla="*/ 402 h 662"/>
                  <a:gd name="T16" fmla="*/ 0 w 781"/>
                  <a:gd name="T17" fmla="*/ 308 h 662"/>
                  <a:gd name="T18" fmla="*/ 0 w 781"/>
                  <a:gd name="T19" fmla="*/ 654 h 662"/>
                  <a:gd name="T20" fmla="*/ 2 w 781"/>
                  <a:gd name="T21" fmla="*/ 662 h 662"/>
                  <a:gd name="T22" fmla="*/ 390 w 781"/>
                  <a:gd name="T23" fmla="*/ 539 h 662"/>
                  <a:gd name="T24" fmla="*/ 779 w 781"/>
                  <a:gd name="T25" fmla="*/ 662 h 662"/>
                  <a:gd name="T26" fmla="*/ 781 w 781"/>
                  <a:gd name="T27" fmla="*/ 654 h 662"/>
                  <a:gd name="T28" fmla="*/ 781 w 781"/>
                  <a:gd name="T29" fmla="*/ 171 h 662"/>
                  <a:gd name="T30" fmla="*/ 764 w 781"/>
                  <a:gd name="T31" fmla="*/ 172 h 662"/>
                  <a:gd name="T32" fmla="*/ 611 w 781"/>
                  <a:gd name="T33" fmla="*/ 2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1" h="662">
                    <a:moveTo>
                      <a:pt x="611" y="20"/>
                    </a:moveTo>
                    <a:cubicBezTo>
                      <a:pt x="611" y="13"/>
                      <a:pt x="611" y="6"/>
                      <a:pt x="612" y="0"/>
                    </a:cubicBezTo>
                    <a:cubicBezTo>
                      <a:pt x="302" y="0"/>
                      <a:pt x="302" y="0"/>
                      <a:pt x="302" y="0"/>
                    </a:cubicBezTo>
                    <a:cubicBezTo>
                      <a:pt x="345" y="82"/>
                      <a:pt x="388" y="164"/>
                      <a:pt x="410" y="198"/>
                    </a:cubicBezTo>
                    <a:cubicBezTo>
                      <a:pt x="454" y="267"/>
                      <a:pt x="459" y="340"/>
                      <a:pt x="426" y="402"/>
                    </a:cubicBezTo>
                    <a:cubicBezTo>
                      <a:pt x="393" y="463"/>
                      <a:pt x="325" y="504"/>
                      <a:pt x="253" y="507"/>
                    </a:cubicBezTo>
                    <a:cubicBezTo>
                      <a:pt x="250" y="507"/>
                      <a:pt x="248" y="507"/>
                      <a:pt x="245" y="507"/>
                    </a:cubicBezTo>
                    <a:cubicBezTo>
                      <a:pt x="171" y="507"/>
                      <a:pt x="105" y="469"/>
                      <a:pt x="64" y="402"/>
                    </a:cubicBezTo>
                    <a:cubicBezTo>
                      <a:pt x="43" y="368"/>
                      <a:pt x="21" y="337"/>
                      <a:pt x="0" y="308"/>
                    </a:cubicBezTo>
                    <a:cubicBezTo>
                      <a:pt x="0" y="654"/>
                      <a:pt x="0" y="654"/>
                      <a:pt x="0" y="654"/>
                    </a:cubicBezTo>
                    <a:cubicBezTo>
                      <a:pt x="0" y="657"/>
                      <a:pt x="1" y="660"/>
                      <a:pt x="2" y="662"/>
                    </a:cubicBezTo>
                    <a:cubicBezTo>
                      <a:pt x="88" y="588"/>
                      <a:pt x="230" y="539"/>
                      <a:pt x="390" y="539"/>
                    </a:cubicBezTo>
                    <a:cubicBezTo>
                      <a:pt x="551" y="539"/>
                      <a:pt x="693" y="588"/>
                      <a:pt x="779" y="662"/>
                    </a:cubicBezTo>
                    <a:cubicBezTo>
                      <a:pt x="780" y="660"/>
                      <a:pt x="781" y="657"/>
                      <a:pt x="781" y="654"/>
                    </a:cubicBezTo>
                    <a:cubicBezTo>
                      <a:pt x="781" y="413"/>
                      <a:pt x="781" y="263"/>
                      <a:pt x="781" y="171"/>
                    </a:cubicBezTo>
                    <a:cubicBezTo>
                      <a:pt x="775" y="172"/>
                      <a:pt x="769" y="172"/>
                      <a:pt x="764" y="172"/>
                    </a:cubicBezTo>
                    <a:cubicBezTo>
                      <a:pt x="679" y="172"/>
                      <a:pt x="611" y="104"/>
                      <a:pt x="611"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659" tIns="33330" rIns="66659" bIns="33330" numCol="1" anchor="t" anchorCtr="0" compatLnSpc="1">
                <a:prstTxWarp prst="textNoShape">
                  <a:avLst/>
                </a:prstTxWarp>
              </a:bodyPr>
              <a:lstStyle/>
              <a:p>
                <a:endParaRPr lang="en-US">
                  <a:solidFill>
                    <a:srgbClr val="E68900"/>
                  </a:solidFill>
                </a:endParaRPr>
              </a:p>
            </p:txBody>
          </p:sp>
          <p:sp>
            <p:nvSpPr>
              <p:cNvPr id="109" name="Freeform 13">
                <a:extLst>
                  <a:ext uri="{FF2B5EF4-FFF2-40B4-BE49-F238E27FC236}">
                    <a16:creationId xmlns:a16="http://schemas.microsoft.com/office/drawing/2014/main" id="{65A26B5E-C2D2-8D9A-DE38-39C5DD043C1B}"/>
                  </a:ext>
                </a:extLst>
              </p:cNvPr>
              <p:cNvSpPr>
                <a:spLocks/>
              </p:cNvSpPr>
              <p:nvPr/>
            </p:nvSpPr>
            <p:spPr bwMode="auto">
              <a:xfrm>
                <a:off x="5545138" y="2905125"/>
                <a:ext cx="1100137" cy="1074738"/>
              </a:xfrm>
              <a:custGeom>
                <a:avLst/>
                <a:gdLst>
                  <a:gd name="T0" fmla="*/ 1518 w 1540"/>
                  <a:gd name="T1" fmla="*/ 1422 h 1504"/>
                  <a:gd name="T2" fmla="*/ 1239 w 1540"/>
                  <a:gd name="T3" fmla="*/ 1422 h 1504"/>
                  <a:gd name="T4" fmla="*/ 1239 w 1540"/>
                  <a:gd name="T5" fmla="*/ 832 h 1504"/>
                  <a:gd name="T6" fmla="*/ 1239 w 1540"/>
                  <a:gd name="T7" fmla="*/ 658 h 1504"/>
                  <a:gd name="T8" fmla="*/ 1195 w 1540"/>
                  <a:gd name="T9" fmla="*/ 614 h 1504"/>
                  <a:gd name="T10" fmla="*/ 1147 w 1540"/>
                  <a:gd name="T11" fmla="*/ 614 h 1504"/>
                  <a:gd name="T12" fmla="*/ 1144 w 1540"/>
                  <a:gd name="T13" fmla="*/ 614 h 1504"/>
                  <a:gd name="T14" fmla="*/ 1141 w 1540"/>
                  <a:gd name="T15" fmla="*/ 569 h 1504"/>
                  <a:gd name="T16" fmla="*/ 993 w 1540"/>
                  <a:gd name="T17" fmla="*/ 249 h 1504"/>
                  <a:gd name="T18" fmla="*/ 765 w 1540"/>
                  <a:gd name="T19" fmla="*/ 7 h 1504"/>
                  <a:gd name="T20" fmla="*/ 749 w 1540"/>
                  <a:gd name="T21" fmla="*/ 0 h 1504"/>
                  <a:gd name="T22" fmla="*/ 114 w 1540"/>
                  <a:gd name="T23" fmla="*/ 0 h 1504"/>
                  <a:gd name="T24" fmla="*/ 97 w 1540"/>
                  <a:gd name="T25" fmla="*/ 8 h 1504"/>
                  <a:gd name="T26" fmla="*/ 90 w 1540"/>
                  <a:gd name="T27" fmla="*/ 24 h 1504"/>
                  <a:gd name="T28" fmla="*/ 90 w 1540"/>
                  <a:gd name="T29" fmla="*/ 549 h 1504"/>
                  <a:gd name="T30" fmla="*/ 242 w 1540"/>
                  <a:gd name="T31" fmla="*/ 796 h 1504"/>
                  <a:gd name="T32" fmla="*/ 473 w 1540"/>
                  <a:gd name="T33" fmla="*/ 1081 h 1504"/>
                  <a:gd name="T34" fmla="*/ 617 w 1540"/>
                  <a:gd name="T35" fmla="*/ 1165 h 1504"/>
                  <a:gd name="T36" fmla="*/ 623 w 1540"/>
                  <a:gd name="T37" fmla="*/ 1165 h 1504"/>
                  <a:gd name="T38" fmla="*/ 759 w 1540"/>
                  <a:gd name="T39" fmla="*/ 1084 h 1504"/>
                  <a:gd name="T40" fmla="*/ 745 w 1540"/>
                  <a:gd name="T41" fmla="*/ 925 h 1504"/>
                  <a:gd name="T42" fmla="*/ 528 w 1540"/>
                  <a:gd name="T43" fmla="*/ 512 h 1504"/>
                  <a:gd name="T44" fmla="*/ 498 w 1540"/>
                  <a:gd name="T45" fmla="*/ 503 h 1504"/>
                  <a:gd name="T46" fmla="*/ 489 w 1540"/>
                  <a:gd name="T47" fmla="*/ 532 h 1504"/>
                  <a:gd name="T48" fmla="*/ 707 w 1540"/>
                  <a:gd name="T49" fmla="*/ 948 h 1504"/>
                  <a:gd name="T50" fmla="*/ 720 w 1540"/>
                  <a:gd name="T51" fmla="*/ 1063 h 1504"/>
                  <a:gd name="T52" fmla="*/ 622 w 1540"/>
                  <a:gd name="T53" fmla="*/ 1121 h 1504"/>
                  <a:gd name="T54" fmla="*/ 510 w 1540"/>
                  <a:gd name="T55" fmla="*/ 1057 h 1504"/>
                  <a:gd name="T56" fmla="*/ 273 w 1540"/>
                  <a:gd name="T57" fmla="*/ 766 h 1504"/>
                  <a:gd name="T58" fmla="*/ 134 w 1540"/>
                  <a:gd name="T59" fmla="*/ 549 h 1504"/>
                  <a:gd name="T60" fmla="*/ 134 w 1540"/>
                  <a:gd name="T61" fmla="*/ 44 h 1504"/>
                  <a:gd name="T62" fmla="*/ 739 w 1540"/>
                  <a:gd name="T63" fmla="*/ 44 h 1504"/>
                  <a:gd name="T64" fmla="*/ 961 w 1540"/>
                  <a:gd name="T65" fmla="*/ 279 h 1504"/>
                  <a:gd name="T66" fmla="*/ 1097 w 1540"/>
                  <a:gd name="T67" fmla="*/ 574 h 1504"/>
                  <a:gd name="T68" fmla="*/ 1100 w 1540"/>
                  <a:gd name="T69" fmla="*/ 614 h 1504"/>
                  <a:gd name="T70" fmla="*/ 1026 w 1540"/>
                  <a:gd name="T71" fmla="*/ 614 h 1504"/>
                  <a:gd name="T72" fmla="*/ 629 w 1540"/>
                  <a:gd name="T73" fmla="*/ 614 h 1504"/>
                  <a:gd name="T74" fmla="*/ 651 w 1540"/>
                  <a:gd name="T75" fmla="*/ 658 h 1504"/>
                  <a:gd name="T76" fmla="*/ 996 w 1540"/>
                  <a:gd name="T77" fmla="*/ 658 h 1504"/>
                  <a:gd name="T78" fmla="*/ 1173 w 1540"/>
                  <a:gd name="T79" fmla="*/ 658 h 1504"/>
                  <a:gd name="T80" fmla="*/ 1195 w 1540"/>
                  <a:gd name="T81" fmla="*/ 680 h 1504"/>
                  <a:gd name="T82" fmla="*/ 1195 w 1540"/>
                  <a:gd name="T83" fmla="*/ 862 h 1504"/>
                  <a:gd name="T84" fmla="*/ 1195 w 1540"/>
                  <a:gd name="T85" fmla="*/ 1412 h 1504"/>
                  <a:gd name="T86" fmla="*/ 1195 w 1540"/>
                  <a:gd name="T87" fmla="*/ 1422 h 1504"/>
                  <a:gd name="T88" fmla="*/ 328 w 1540"/>
                  <a:gd name="T89" fmla="*/ 1422 h 1504"/>
                  <a:gd name="T90" fmla="*/ 328 w 1540"/>
                  <a:gd name="T91" fmla="*/ 1412 h 1504"/>
                  <a:gd name="T92" fmla="*/ 328 w 1540"/>
                  <a:gd name="T93" fmla="*/ 956 h 1504"/>
                  <a:gd name="T94" fmla="*/ 284 w 1540"/>
                  <a:gd name="T95" fmla="*/ 905 h 1504"/>
                  <a:gd name="T96" fmla="*/ 284 w 1540"/>
                  <a:gd name="T97" fmla="*/ 1422 h 1504"/>
                  <a:gd name="T98" fmla="*/ 22 w 1540"/>
                  <a:gd name="T99" fmla="*/ 1422 h 1504"/>
                  <a:gd name="T100" fmla="*/ 0 w 1540"/>
                  <a:gd name="T101" fmla="*/ 1444 h 1504"/>
                  <a:gd name="T102" fmla="*/ 0 w 1540"/>
                  <a:gd name="T103" fmla="*/ 1482 h 1504"/>
                  <a:gd name="T104" fmla="*/ 22 w 1540"/>
                  <a:gd name="T105" fmla="*/ 1504 h 1504"/>
                  <a:gd name="T106" fmla="*/ 287 w 1540"/>
                  <a:gd name="T107" fmla="*/ 1504 h 1504"/>
                  <a:gd name="T108" fmla="*/ 1236 w 1540"/>
                  <a:gd name="T109" fmla="*/ 1504 h 1504"/>
                  <a:gd name="T110" fmla="*/ 1518 w 1540"/>
                  <a:gd name="T111" fmla="*/ 1504 h 1504"/>
                  <a:gd name="T112" fmla="*/ 1540 w 1540"/>
                  <a:gd name="T113" fmla="*/ 1482 h 1504"/>
                  <a:gd name="T114" fmla="*/ 1540 w 1540"/>
                  <a:gd name="T115" fmla="*/ 1444 h 1504"/>
                  <a:gd name="T116" fmla="*/ 1518 w 1540"/>
                  <a:gd name="T117" fmla="*/ 1422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40" h="1504">
                    <a:moveTo>
                      <a:pt x="1518" y="1422"/>
                    </a:moveTo>
                    <a:cubicBezTo>
                      <a:pt x="1518" y="1422"/>
                      <a:pt x="1518" y="1422"/>
                      <a:pt x="1239" y="1422"/>
                    </a:cubicBezTo>
                    <a:cubicBezTo>
                      <a:pt x="1239" y="1422"/>
                      <a:pt x="1239" y="1422"/>
                      <a:pt x="1239" y="832"/>
                    </a:cubicBezTo>
                    <a:cubicBezTo>
                      <a:pt x="1239" y="779"/>
                      <a:pt x="1239" y="722"/>
                      <a:pt x="1239" y="658"/>
                    </a:cubicBezTo>
                    <a:cubicBezTo>
                      <a:pt x="1239" y="633"/>
                      <a:pt x="1219" y="614"/>
                      <a:pt x="1195" y="614"/>
                    </a:cubicBezTo>
                    <a:cubicBezTo>
                      <a:pt x="1195" y="614"/>
                      <a:pt x="1195" y="614"/>
                      <a:pt x="1147" y="614"/>
                    </a:cubicBezTo>
                    <a:cubicBezTo>
                      <a:pt x="1144" y="614"/>
                      <a:pt x="1144" y="614"/>
                      <a:pt x="1144" y="614"/>
                    </a:cubicBezTo>
                    <a:cubicBezTo>
                      <a:pt x="1144" y="599"/>
                      <a:pt x="1143" y="584"/>
                      <a:pt x="1141" y="569"/>
                    </a:cubicBezTo>
                    <a:cubicBezTo>
                      <a:pt x="1128" y="450"/>
                      <a:pt x="1076" y="338"/>
                      <a:pt x="993" y="249"/>
                    </a:cubicBezTo>
                    <a:cubicBezTo>
                      <a:pt x="765" y="7"/>
                      <a:pt x="765" y="7"/>
                      <a:pt x="765" y="7"/>
                    </a:cubicBezTo>
                    <a:cubicBezTo>
                      <a:pt x="761" y="2"/>
                      <a:pt x="755" y="0"/>
                      <a:pt x="749" y="0"/>
                    </a:cubicBezTo>
                    <a:cubicBezTo>
                      <a:pt x="114" y="0"/>
                      <a:pt x="114" y="0"/>
                      <a:pt x="114" y="0"/>
                    </a:cubicBezTo>
                    <a:cubicBezTo>
                      <a:pt x="107" y="0"/>
                      <a:pt x="101" y="3"/>
                      <a:pt x="97" y="8"/>
                    </a:cubicBezTo>
                    <a:cubicBezTo>
                      <a:pt x="93" y="12"/>
                      <a:pt x="90" y="18"/>
                      <a:pt x="90" y="24"/>
                    </a:cubicBezTo>
                    <a:cubicBezTo>
                      <a:pt x="90" y="549"/>
                      <a:pt x="90" y="549"/>
                      <a:pt x="90" y="549"/>
                    </a:cubicBezTo>
                    <a:cubicBezTo>
                      <a:pt x="90" y="638"/>
                      <a:pt x="154" y="704"/>
                      <a:pt x="242" y="796"/>
                    </a:cubicBezTo>
                    <a:cubicBezTo>
                      <a:pt x="310" y="867"/>
                      <a:pt x="395" y="955"/>
                      <a:pt x="473" y="1081"/>
                    </a:cubicBezTo>
                    <a:cubicBezTo>
                      <a:pt x="507" y="1135"/>
                      <a:pt x="559" y="1165"/>
                      <a:pt x="617" y="1165"/>
                    </a:cubicBezTo>
                    <a:cubicBezTo>
                      <a:pt x="619" y="1165"/>
                      <a:pt x="621" y="1165"/>
                      <a:pt x="623" y="1165"/>
                    </a:cubicBezTo>
                    <a:cubicBezTo>
                      <a:pt x="680" y="1163"/>
                      <a:pt x="733" y="1131"/>
                      <a:pt x="759" y="1084"/>
                    </a:cubicBezTo>
                    <a:cubicBezTo>
                      <a:pt x="783" y="1036"/>
                      <a:pt x="778" y="979"/>
                      <a:pt x="745" y="925"/>
                    </a:cubicBezTo>
                    <a:cubicBezTo>
                      <a:pt x="695" y="845"/>
                      <a:pt x="530" y="516"/>
                      <a:pt x="528" y="512"/>
                    </a:cubicBezTo>
                    <a:cubicBezTo>
                      <a:pt x="522" y="502"/>
                      <a:pt x="509" y="497"/>
                      <a:pt x="498" y="503"/>
                    </a:cubicBezTo>
                    <a:cubicBezTo>
                      <a:pt x="487" y="508"/>
                      <a:pt x="483" y="521"/>
                      <a:pt x="489" y="532"/>
                    </a:cubicBezTo>
                    <a:cubicBezTo>
                      <a:pt x="495" y="546"/>
                      <a:pt x="656" y="867"/>
                      <a:pt x="707" y="948"/>
                    </a:cubicBezTo>
                    <a:cubicBezTo>
                      <a:pt x="733" y="989"/>
                      <a:pt x="737" y="1030"/>
                      <a:pt x="720" y="1063"/>
                    </a:cubicBezTo>
                    <a:cubicBezTo>
                      <a:pt x="702" y="1097"/>
                      <a:pt x="663" y="1119"/>
                      <a:pt x="622" y="1121"/>
                    </a:cubicBezTo>
                    <a:cubicBezTo>
                      <a:pt x="595" y="1122"/>
                      <a:pt x="546" y="1115"/>
                      <a:pt x="510" y="1057"/>
                    </a:cubicBezTo>
                    <a:cubicBezTo>
                      <a:pt x="430" y="928"/>
                      <a:pt x="343" y="838"/>
                      <a:pt x="273" y="766"/>
                    </a:cubicBezTo>
                    <a:cubicBezTo>
                      <a:pt x="193" y="681"/>
                      <a:pt x="134" y="621"/>
                      <a:pt x="134" y="549"/>
                    </a:cubicBezTo>
                    <a:cubicBezTo>
                      <a:pt x="134" y="201"/>
                      <a:pt x="134" y="83"/>
                      <a:pt x="134" y="44"/>
                    </a:cubicBezTo>
                    <a:cubicBezTo>
                      <a:pt x="739" y="44"/>
                      <a:pt x="739" y="44"/>
                      <a:pt x="739" y="44"/>
                    </a:cubicBezTo>
                    <a:cubicBezTo>
                      <a:pt x="961" y="279"/>
                      <a:pt x="961" y="279"/>
                      <a:pt x="961" y="279"/>
                    </a:cubicBezTo>
                    <a:cubicBezTo>
                      <a:pt x="1037" y="361"/>
                      <a:pt x="1085" y="464"/>
                      <a:pt x="1097" y="574"/>
                    </a:cubicBezTo>
                    <a:cubicBezTo>
                      <a:pt x="1099" y="587"/>
                      <a:pt x="1100" y="601"/>
                      <a:pt x="1100" y="614"/>
                    </a:cubicBezTo>
                    <a:cubicBezTo>
                      <a:pt x="1094" y="614"/>
                      <a:pt x="1076" y="614"/>
                      <a:pt x="1026" y="614"/>
                    </a:cubicBezTo>
                    <a:cubicBezTo>
                      <a:pt x="962" y="614"/>
                      <a:pt x="844" y="614"/>
                      <a:pt x="629" y="614"/>
                    </a:cubicBezTo>
                    <a:cubicBezTo>
                      <a:pt x="636" y="628"/>
                      <a:pt x="643" y="643"/>
                      <a:pt x="651" y="658"/>
                    </a:cubicBezTo>
                    <a:cubicBezTo>
                      <a:pt x="651" y="658"/>
                      <a:pt x="651" y="658"/>
                      <a:pt x="996" y="658"/>
                    </a:cubicBezTo>
                    <a:cubicBezTo>
                      <a:pt x="1047" y="658"/>
                      <a:pt x="1106" y="658"/>
                      <a:pt x="1173" y="658"/>
                    </a:cubicBezTo>
                    <a:cubicBezTo>
                      <a:pt x="1185" y="658"/>
                      <a:pt x="1195" y="668"/>
                      <a:pt x="1195" y="680"/>
                    </a:cubicBezTo>
                    <a:cubicBezTo>
                      <a:pt x="1195" y="680"/>
                      <a:pt x="1195" y="680"/>
                      <a:pt x="1195" y="862"/>
                    </a:cubicBezTo>
                    <a:cubicBezTo>
                      <a:pt x="1195" y="969"/>
                      <a:pt x="1195" y="1140"/>
                      <a:pt x="1195" y="1412"/>
                    </a:cubicBezTo>
                    <a:cubicBezTo>
                      <a:pt x="1195" y="1415"/>
                      <a:pt x="1195" y="1419"/>
                      <a:pt x="1195" y="1422"/>
                    </a:cubicBezTo>
                    <a:cubicBezTo>
                      <a:pt x="1195" y="1422"/>
                      <a:pt x="1195" y="1422"/>
                      <a:pt x="328" y="1422"/>
                    </a:cubicBezTo>
                    <a:cubicBezTo>
                      <a:pt x="328" y="1422"/>
                      <a:pt x="328" y="1422"/>
                      <a:pt x="328" y="1412"/>
                    </a:cubicBezTo>
                    <a:cubicBezTo>
                      <a:pt x="328" y="1386"/>
                      <a:pt x="328" y="1293"/>
                      <a:pt x="328" y="956"/>
                    </a:cubicBezTo>
                    <a:cubicBezTo>
                      <a:pt x="313" y="938"/>
                      <a:pt x="298" y="921"/>
                      <a:pt x="284" y="905"/>
                    </a:cubicBezTo>
                    <a:cubicBezTo>
                      <a:pt x="284" y="905"/>
                      <a:pt x="284" y="905"/>
                      <a:pt x="284" y="1422"/>
                    </a:cubicBezTo>
                    <a:cubicBezTo>
                      <a:pt x="284" y="1422"/>
                      <a:pt x="284" y="1422"/>
                      <a:pt x="22" y="1422"/>
                    </a:cubicBezTo>
                    <a:cubicBezTo>
                      <a:pt x="10" y="1422"/>
                      <a:pt x="0" y="1432"/>
                      <a:pt x="0" y="1444"/>
                    </a:cubicBezTo>
                    <a:cubicBezTo>
                      <a:pt x="0" y="1444"/>
                      <a:pt x="0" y="1444"/>
                      <a:pt x="0" y="1482"/>
                    </a:cubicBezTo>
                    <a:cubicBezTo>
                      <a:pt x="0" y="1494"/>
                      <a:pt x="10" y="1504"/>
                      <a:pt x="22" y="1504"/>
                    </a:cubicBezTo>
                    <a:cubicBezTo>
                      <a:pt x="22" y="1504"/>
                      <a:pt x="22" y="1504"/>
                      <a:pt x="287" y="1504"/>
                    </a:cubicBezTo>
                    <a:cubicBezTo>
                      <a:pt x="462" y="1504"/>
                      <a:pt x="753" y="1504"/>
                      <a:pt x="1236" y="1504"/>
                    </a:cubicBezTo>
                    <a:cubicBezTo>
                      <a:pt x="1323" y="1504"/>
                      <a:pt x="1417" y="1504"/>
                      <a:pt x="1518" y="1504"/>
                    </a:cubicBezTo>
                    <a:cubicBezTo>
                      <a:pt x="1530" y="1504"/>
                      <a:pt x="1540" y="1494"/>
                      <a:pt x="1540" y="1482"/>
                    </a:cubicBezTo>
                    <a:cubicBezTo>
                      <a:pt x="1540" y="1482"/>
                      <a:pt x="1540" y="1482"/>
                      <a:pt x="1540" y="1444"/>
                    </a:cubicBezTo>
                    <a:cubicBezTo>
                      <a:pt x="1540" y="1432"/>
                      <a:pt x="1530" y="1422"/>
                      <a:pt x="1518" y="14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659" tIns="33330" rIns="66659" bIns="33330" numCol="1" anchor="t" anchorCtr="0" compatLnSpc="1">
                <a:prstTxWarp prst="textNoShape">
                  <a:avLst/>
                </a:prstTxWarp>
              </a:bodyPr>
              <a:lstStyle/>
              <a:p>
                <a:endParaRPr lang="en-US">
                  <a:solidFill>
                    <a:srgbClr val="E68900"/>
                  </a:solidFill>
                </a:endParaRPr>
              </a:p>
            </p:txBody>
          </p:sp>
        </p:grpSp>
      </p:grpSp>
      <p:pic>
        <p:nvPicPr>
          <p:cNvPr id="110" name="Picture 2">
            <a:extLst>
              <a:ext uri="{FF2B5EF4-FFF2-40B4-BE49-F238E27FC236}">
                <a16:creationId xmlns:a16="http://schemas.microsoft.com/office/drawing/2014/main" id="{CFD10F69-8E44-BAD5-449A-80F57488BC40}"/>
              </a:ext>
            </a:extLst>
          </p:cNvPr>
          <p:cNvPicPr>
            <a:picLocks noChangeAspect="1" noChangeArrowheads="1"/>
          </p:cNvPicPr>
          <p:nvPr/>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6422612" y="3806072"/>
            <a:ext cx="365949" cy="220789"/>
          </a:xfrm>
          <a:prstGeom prst="rect">
            <a:avLst/>
          </a:prstGeom>
          <a:noFill/>
          <a:extLst>
            <a:ext uri="{909E8E84-426E-40DD-AFC4-6F175D3DCCD1}">
              <a14:hiddenFill xmlns:a14="http://schemas.microsoft.com/office/drawing/2010/main">
                <a:solidFill>
                  <a:srgbClr val="FFFFFF"/>
                </a:solidFill>
              </a14:hiddenFill>
            </a:ext>
          </a:extLst>
        </p:spPr>
      </p:pic>
      <p:grpSp>
        <p:nvGrpSpPr>
          <p:cNvPr id="111" name="bcgIconsWhite_Television ">
            <a:extLst>
              <a:ext uri="{FF2B5EF4-FFF2-40B4-BE49-F238E27FC236}">
                <a16:creationId xmlns:a16="http://schemas.microsoft.com/office/drawing/2014/main" id="{286802D7-E10A-F120-B33F-BEAA411E8A64}"/>
              </a:ext>
            </a:extLst>
          </p:cNvPr>
          <p:cNvGrpSpPr>
            <a:grpSpLocks noChangeAspect="1"/>
          </p:cNvGrpSpPr>
          <p:nvPr/>
        </p:nvGrpSpPr>
        <p:grpSpPr>
          <a:xfrm>
            <a:off x="6435851" y="3089382"/>
            <a:ext cx="339475" cy="339475"/>
            <a:chOff x="5375275" y="2684463"/>
            <a:chExt cx="1644650" cy="1644650"/>
          </a:xfrm>
        </p:grpSpPr>
        <p:sp>
          <p:nvSpPr>
            <p:cNvPr id="112" name="AutoShape 132">
              <a:extLst>
                <a:ext uri="{FF2B5EF4-FFF2-40B4-BE49-F238E27FC236}">
                  <a16:creationId xmlns:a16="http://schemas.microsoft.com/office/drawing/2014/main" id="{AC7188DC-B632-2ED6-724C-A4CD9B81E1B8}"/>
                </a:ext>
              </a:extLst>
            </p:cNvPr>
            <p:cNvSpPr>
              <a:spLocks noChangeAspect="1" noChangeArrowheads="1" noTextEdit="1"/>
            </p:cNvSpPr>
            <p:nvPr/>
          </p:nvSpPr>
          <p:spPr bwMode="auto">
            <a:xfrm>
              <a:off x="5375275" y="2684463"/>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35">
              <a:extLst>
                <a:ext uri="{FF2B5EF4-FFF2-40B4-BE49-F238E27FC236}">
                  <a16:creationId xmlns:a16="http://schemas.microsoft.com/office/drawing/2014/main" id="{E37DEDC6-ED22-0EF7-51FF-88CEFF243C75}"/>
                </a:ext>
              </a:extLst>
            </p:cNvPr>
            <p:cNvSpPr>
              <a:spLocks noEditPoints="1"/>
            </p:cNvSpPr>
            <p:nvPr/>
          </p:nvSpPr>
          <p:spPr bwMode="auto">
            <a:xfrm>
              <a:off x="5545138" y="3003550"/>
              <a:ext cx="1304925" cy="1006475"/>
            </a:xfrm>
            <a:custGeom>
              <a:avLst/>
              <a:gdLst>
                <a:gd name="T0" fmla="*/ 1470 w 1544"/>
                <a:gd name="T1" fmla="*/ 92 h 1192"/>
                <a:gd name="T2" fmla="*/ 1470 w 1544"/>
                <a:gd name="T3" fmla="*/ 959 h 1192"/>
                <a:gd name="T4" fmla="*/ 1452 w 1544"/>
                <a:gd name="T5" fmla="*/ 978 h 1192"/>
                <a:gd name="T6" fmla="*/ 92 w 1544"/>
                <a:gd name="T7" fmla="*/ 978 h 1192"/>
                <a:gd name="T8" fmla="*/ 74 w 1544"/>
                <a:gd name="T9" fmla="*/ 959 h 1192"/>
                <a:gd name="T10" fmla="*/ 74 w 1544"/>
                <a:gd name="T11" fmla="*/ 92 h 1192"/>
                <a:gd name="T12" fmla="*/ 92 w 1544"/>
                <a:gd name="T13" fmla="*/ 74 h 1192"/>
                <a:gd name="T14" fmla="*/ 1452 w 1544"/>
                <a:gd name="T15" fmla="*/ 74 h 1192"/>
                <a:gd name="T16" fmla="*/ 1470 w 1544"/>
                <a:gd name="T17" fmla="*/ 92 h 1192"/>
                <a:gd name="T18" fmla="*/ 1526 w 1544"/>
                <a:gd name="T19" fmla="*/ 0 h 1192"/>
                <a:gd name="T20" fmla="*/ 1544 w 1544"/>
                <a:gd name="T21" fmla="*/ 18 h 1192"/>
                <a:gd name="T22" fmla="*/ 1544 w 1544"/>
                <a:gd name="T23" fmla="*/ 1034 h 1192"/>
                <a:gd name="T24" fmla="*/ 1526 w 1544"/>
                <a:gd name="T25" fmla="*/ 1052 h 1192"/>
                <a:gd name="T26" fmla="*/ 813 w 1544"/>
                <a:gd name="T27" fmla="*/ 1052 h 1192"/>
                <a:gd name="T28" fmla="*/ 813 w 1544"/>
                <a:gd name="T29" fmla="*/ 1155 h 1192"/>
                <a:gd name="T30" fmla="*/ 1217 w 1544"/>
                <a:gd name="T31" fmla="*/ 1155 h 1192"/>
                <a:gd name="T32" fmla="*/ 1236 w 1544"/>
                <a:gd name="T33" fmla="*/ 1174 h 1192"/>
                <a:gd name="T34" fmla="*/ 1217 w 1544"/>
                <a:gd name="T35" fmla="*/ 1192 h 1192"/>
                <a:gd name="T36" fmla="*/ 329 w 1544"/>
                <a:gd name="T37" fmla="*/ 1192 h 1192"/>
                <a:gd name="T38" fmla="*/ 311 w 1544"/>
                <a:gd name="T39" fmla="*/ 1174 h 1192"/>
                <a:gd name="T40" fmla="*/ 329 w 1544"/>
                <a:gd name="T41" fmla="*/ 1155 h 1192"/>
                <a:gd name="T42" fmla="*/ 715 w 1544"/>
                <a:gd name="T43" fmla="*/ 1155 h 1192"/>
                <a:gd name="T44" fmla="*/ 715 w 1544"/>
                <a:gd name="T45" fmla="*/ 1052 h 1192"/>
                <a:gd name="T46" fmla="*/ 18 w 1544"/>
                <a:gd name="T47" fmla="*/ 1052 h 1192"/>
                <a:gd name="T48" fmla="*/ 0 w 1544"/>
                <a:gd name="T49" fmla="*/ 1034 h 1192"/>
                <a:gd name="T50" fmla="*/ 0 w 1544"/>
                <a:gd name="T51" fmla="*/ 18 h 1192"/>
                <a:gd name="T52" fmla="*/ 18 w 1544"/>
                <a:gd name="T53" fmla="*/ 0 h 1192"/>
                <a:gd name="T54" fmla="*/ 1526 w 1544"/>
                <a:gd name="T55" fmla="*/ 0 h 1192"/>
                <a:gd name="T56" fmla="*/ 1390 w 1544"/>
                <a:gd name="T57" fmla="*/ 1045 h 1192"/>
                <a:gd name="T58" fmla="*/ 1400 w 1544"/>
                <a:gd name="T59" fmla="*/ 1035 h 1192"/>
                <a:gd name="T60" fmla="*/ 1390 w 1544"/>
                <a:gd name="T61" fmla="*/ 1025 h 1192"/>
                <a:gd name="T62" fmla="*/ 1379 w 1544"/>
                <a:gd name="T63" fmla="*/ 1035 h 1192"/>
                <a:gd name="T64" fmla="*/ 1390 w 1544"/>
                <a:gd name="T65" fmla="*/ 1045 h 1192"/>
                <a:gd name="T66" fmla="*/ 1507 w 1544"/>
                <a:gd name="T67" fmla="*/ 996 h 1192"/>
                <a:gd name="T68" fmla="*/ 1507 w 1544"/>
                <a:gd name="T69" fmla="*/ 996 h 1192"/>
                <a:gd name="T70" fmla="*/ 1507 w 1544"/>
                <a:gd name="T71" fmla="*/ 55 h 1192"/>
                <a:gd name="T72" fmla="*/ 1488 w 1544"/>
                <a:gd name="T73" fmla="*/ 37 h 1192"/>
                <a:gd name="T74" fmla="*/ 56 w 1544"/>
                <a:gd name="T75" fmla="*/ 37 h 1192"/>
                <a:gd name="T76" fmla="*/ 37 w 1544"/>
                <a:gd name="T77" fmla="*/ 55 h 1192"/>
                <a:gd name="T78" fmla="*/ 37 w 1544"/>
                <a:gd name="T79" fmla="*/ 996 h 1192"/>
                <a:gd name="T80" fmla="*/ 56 w 1544"/>
                <a:gd name="T81" fmla="*/ 1015 h 1192"/>
                <a:gd name="T82" fmla="*/ 1488 w 1544"/>
                <a:gd name="T83" fmla="*/ 1015 h 1192"/>
                <a:gd name="T84" fmla="*/ 1507 w 1544"/>
                <a:gd name="T85" fmla="*/ 996 h 1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44" h="1192">
                  <a:moveTo>
                    <a:pt x="1470" y="92"/>
                  </a:moveTo>
                  <a:cubicBezTo>
                    <a:pt x="1470" y="959"/>
                    <a:pt x="1470" y="959"/>
                    <a:pt x="1470" y="959"/>
                  </a:cubicBezTo>
                  <a:cubicBezTo>
                    <a:pt x="1470" y="969"/>
                    <a:pt x="1462" y="978"/>
                    <a:pt x="1452" y="978"/>
                  </a:cubicBezTo>
                  <a:cubicBezTo>
                    <a:pt x="92" y="978"/>
                    <a:pt x="92" y="978"/>
                    <a:pt x="92" y="978"/>
                  </a:cubicBezTo>
                  <a:cubicBezTo>
                    <a:pt x="82" y="978"/>
                    <a:pt x="74" y="969"/>
                    <a:pt x="74" y="959"/>
                  </a:cubicBezTo>
                  <a:cubicBezTo>
                    <a:pt x="74" y="92"/>
                    <a:pt x="74" y="92"/>
                    <a:pt x="74" y="92"/>
                  </a:cubicBezTo>
                  <a:cubicBezTo>
                    <a:pt x="74" y="82"/>
                    <a:pt x="82" y="74"/>
                    <a:pt x="92" y="74"/>
                  </a:cubicBezTo>
                  <a:cubicBezTo>
                    <a:pt x="1452" y="74"/>
                    <a:pt x="1452" y="74"/>
                    <a:pt x="1452" y="74"/>
                  </a:cubicBezTo>
                  <a:cubicBezTo>
                    <a:pt x="1462" y="74"/>
                    <a:pt x="1470" y="82"/>
                    <a:pt x="1470" y="92"/>
                  </a:cubicBezTo>
                  <a:close/>
                  <a:moveTo>
                    <a:pt x="1526" y="0"/>
                  </a:moveTo>
                  <a:cubicBezTo>
                    <a:pt x="1536" y="0"/>
                    <a:pt x="1544" y="8"/>
                    <a:pt x="1544" y="18"/>
                  </a:cubicBezTo>
                  <a:cubicBezTo>
                    <a:pt x="1544" y="18"/>
                    <a:pt x="1544" y="18"/>
                    <a:pt x="1544" y="1034"/>
                  </a:cubicBezTo>
                  <a:cubicBezTo>
                    <a:pt x="1544" y="1044"/>
                    <a:pt x="1536" y="1052"/>
                    <a:pt x="1526" y="1052"/>
                  </a:cubicBezTo>
                  <a:cubicBezTo>
                    <a:pt x="1526" y="1052"/>
                    <a:pt x="1526" y="1052"/>
                    <a:pt x="813" y="1052"/>
                  </a:cubicBezTo>
                  <a:cubicBezTo>
                    <a:pt x="813" y="1052"/>
                    <a:pt x="813" y="1052"/>
                    <a:pt x="813" y="1155"/>
                  </a:cubicBezTo>
                  <a:cubicBezTo>
                    <a:pt x="813" y="1155"/>
                    <a:pt x="813" y="1155"/>
                    <a:pt x="1217" y="1155"/>
                  </a:cubicBezTo>
                  <a:cubicBezTo>
                    <a:pt x="1227" y="1155"/>
                    <a:pt x="1236" y="1164"/>
                    <a:pt x="1236" y="1174"/>
                  </a:cubicBezTo>
                  <a:cubicBezTo>
                    <a:pt x="1236" y="1184"/>
                    <a:pt x="1227" y="1192"/>
                    <a:pt x="1217" y="1192"/>
                  </a:cubicBezTo>
                  <a:cubicBezTo>
                    <a:pt x="1217" y="1192"/>
                    <a:pt x="1217" y="1192"/>
                    <a:pt x="329" y="1192"/>
                  </a:cubicBezTo>
                  <a:cubicBezTo>
                    <a:pt x="319" y="1192"/>
                    <a:pt x="311" y="1184"/>
                    <a:pt x="311" y="1174"/>
                  </a:cubicBezTo>
                  <a:cubicBezTo>
                    <a:pt x="311" y="1164"/>
                    <a:pt x="319" y="1155"/>
                    <a:pt x="329" y="1155"/>
                  </a:cubicBezTo>
                  <a:cubicBezTo>
                    <a:pt x="329" y="1155"/>
                    <a:pt x="329" y="1155"/>
                    <a:pt x="715" y="1155"/>
                  </a:cubicBezTo>
                  <a:cubicBezTo>
                    <a:pt x="715" y="1155"/>
                    <a:pt x="715" y="1155"/>
                    <a:pt x="715" y="1052"/>
                  </a:cubicBezTo>
                  <a:cubicBezTo>
                    <a:pt x="715" y="1052"/>
                    <a:pt x="715" y="1052"/>
                    <a:pt x="18" y="1052"/>
                  </a:cubicBezTo>
                  <a:cubicBezTo>
                    <a:pt x="8" y="1052"/>
                    <a:pt x="0" y="1044"/>
                    <a:pt x="0" y="1034"/>
                  </a:cubicBezTo>
                  <a:cubicBezTo>
                    <a:pt x="0" y="1034"/>
                    <a:pt x="0" y="1034"/>
                    <a:pt x="0" y="18"/>
                  </a:cubicBezTo>
                  <a:cubicBezTo>
                    <a:pt x="0" y="8"/>
                    <a:pt x="8" y="0"/>
                    <a:pt x="18" y="0"/>
                  </a:cubicBezTo>
                  <a:cubicBezTo>
                    <a:pt x="18" y="0"/>
                    <a:pt x="18" y="0"/>
                    <a:pt x="1526" y="0"/>
                  </a:cubicBezTo>
                  <a:close/>
                  <a:moveTo>
                    <a:pt x="1390" y="1045"/>
                  </a:moveTo>
                  <a:cubicBezTo>
                    <a:pt x="1396" y="1045"/>
                    <a:pt x="1400" y="1040"/>
                    <a:pt x="1400" y="1035"/>
                  </a:cubicBezTo>
                  <a:cubicBezTo>
                    <a:pt x="1400" y="1029"/>
                    <a:pt x="1396" y="1025"/>
                    <a:pt x="1390" y="1025"/>
                  </a:cubicBezTo>
                  <a:cubicBezTo>
                    <a:pt x="1385" y="1025"/>
                    <a:pt x="1379" y="1029"/>
                    <a:pt x="1379" y="1035"/>
                  </a:cubicBezTo>
                  <a:cubicBezTo>
                    <a:pt x="1379" y="1040"/>
                    <a:pt x="1385" y="1045"/>
                    <a:pt x="1390" y="1045"/>
                  </a:cubicBezTo>
                  <a:close/>
                  <a:moveTo>
                    <a:pt x="1507" y="996"/>
                  </a:moveTo>
                  <a:cubicBezTo>
                    <a:pt x="1507" y="996"/>
                    <a:pt x="1507" y="996"/>
                    <a:pt x="1507" y="996"/>
                  </a:cubicBezTo>
                  <a:cubicBezTo>
                    <a:pt x="1507" y="55"/>
                    <a:pt x="1507" y="55"/>
                    <a:pt x="1507" y="55"/>
                  </a:cubicBezTo>
                  <a:cubicBezTo>
                    <a:pt x="1507" y="45"/>
                    <a:pt x="1499" y="37"/>
                    <a:pt x="1488" y="37"/>
                  </a:cubicBezTo>
                  <a:cubicBezTo>
                    <a:pt x="1488" y="37"/>
                    <a:pt x="1488" y="37"/>
                    <a:pt x="56" y="37"/>
                  </a:cubicBezTo>
                  <a:cubicBezTo>
                    <a:pt x="45" y="37"/>
                    <a:pt x="37" y="45"/>
                    <a:pt x="37" y="55"/>
                  </a:cubicBezTo>
                  <a:cubicBezTo>
                    <a:pt x="37" y="55"/>
                    <a:pt x="37" y="55"/>
                    <a:pt x="37" y="996"/>
                  </a:cubicBezTo>
                  <a:cubicBezTo>
                    <a:pt x="37" y="1006"/>
                    <a:pt x="45" y="1015"/>
                    <a:pt x="56" y="1015"/>
                  </a:cubicBezTo>
                  <a:cubicBezTo>
                    <a:pt x="56" y="1015"/>
                    <a:pt x="56" y="1015"/>
                    <a:pt x="1488" y="1015"/>
                  </a:cubicBezTo>
                  <a:cubicBezTo>
                    <a:pt x="1499" y="1015"/>
                    <a:pt x="1507" y="1006"/>
                    <a:pt x="1507" y="9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31684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think-cell data - do not delete" hidden="1">
            <a:extLst>
              <a:ext uri="{FF2B5EF4-FFF2-40B4-BE49-F238E27FC236}">
                <a16:creationId xmlns:a16="http://schemas.microsoft.com/office/drawing/2014/main" id="{3E54AD75-C981-48ED-8046-5A02CEB66B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6" imgH="367" progId="TCLayout.ActiveDocument.1">
                  <p:embed/>
                </p:oleObj>
              </mc:Choice>
              <mc:Fallback>
                <p:oleObj name="think-cell Slide" r:id="rId4" imgW="366" imgH="367" progId="TCLayout.ActiveDocument.1">
                  <p:embed/>
                  <p:pic>
                    <p:nvPicPr>
                      <p:cNvPr id="76" name="think-cell data - do not delete" hidden="1">
                        <a:extLst>
                          <a:ext uri="{FF2B5EF4-FFF2-40B4-BE49-F238E27FC236}">
                            <a16:creationId xmlns:a16="http://schemas.microsoft.com/office/drawing/2014/main" id="{3E54AD75-C981-48ED-8046-5A02CEB66B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8" name="Picture 137" descr="A city with lights and lines&#10;&#10;Description automatically generated with medium confidence">
            <a:extLst>
              <a:ext uri="{FF2B5EF4-FFF2-40B4-BE49-F238E27FC236}">
                <a16:creationId xmlns:a16="http://schemas.microsoft.com/office/drawing/2014/main" id="{17110820-4398-4422-B437-8D4348D59450}"/>
              </a:ext>
            </a:extLst>
          </p:cNvPr>
          <p:cNvPicPr>
            <a:picLocks noChangeAspect="1"/>
          </p:cNvPicPr>
          <p:nvPr/>
        </p:nvPicPr>
        <p:blipFill>
          <a:blip r:embed="rId6"/>
          <a:srcRect l="5556" r="5556"/>
          <a:stretch/>
        </p:blipFill>
        <p:spPr>
          <a:xfrm>
            <a:off x="1" y="0"/>
            <a:ext cx="12192000" cy="6858000"/>
          </a:xfrm>
          <a:prstGeom prst="rect">
            <a:avLst/>
          </a:prstGeom>
        </p:spPr>
      </p:pic>
      <p:sp>
        <p:nvSpPr>
          <p:cNvPr id="142" name="Rectangle: Diagonal Corners Snipped 141">
            <a:extLst>
              <a:ext uri="{FF2B5EF4-FFF2-40B4-BE49-F238E27FC236}">
                <a16:creationId xmlns:a16="http://schemas.microsoft.com/office/drawing/2014/main" id="{62FA92BA-EAF2-48AC-BFCA-284D4FF67313}"/>
              </a:ext>
            </a:extLst>
          </p:cNvPr>
          <p:cNvSpPr/>
          <p:nvPr/>
        </p:nvSpPr>
        <p:spPr>
          <a:xfrm rot="16200000" flipV="1">
            <a:off x="-2645391" y="3353938"/>
            <a:ext cx="6400800" cy="150125"/>
          </a:xfrm>
          <a:prstGeom prst="snip2DiagRect">
            <a:avLst>
              <a:gd name="adj1" fmla="val 0"/>
              <a:gd name="adj2" fmla="val 50000"/>
            </a:avLst>
          </a:prstGeom>
          <a:solidFill>
            <a:srgbClr val="F9793B">
              <a:alpha val="69804"/>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3" name="Rectangle: Diagonal Corners Snipped 142">
            <a:extLst>
              <a:ext uri="{FF2B5EF4-FFF2-40B4-BE49-F238E27FC236}">
                <a16:creationId xmlns:a16="http://schemas.microsoft.com/office/drawing/2014/main" id="{5CDD9E90-D76E-4E4B-9255-5148960F12F1}"/>
              </a:ext>
            </a:extLst>
          </p:cNvPr>
          <p:cNvSpPr/>
          <p:nvPr/>
        </p:nvSpPr>
        <p:spPr>
          <a:xfrm rot="16200000" flipV="1">
            <a:off x="-2850108" y="3353938"/>
            <a:ext cx="6400800" cy="150125"/>
          </a:xfrm>
          <a:prstGeom prst="snip2DiagRect">
            <a:avLst>
              <a:gd name="adj1" fmla="val 0"/>
              <a:gd name="adj2" fmla="val 50000"/>
            </a:avLst>
          </a:prstGeom>
          <a:solidFill>
            <a:srgbClr val="F9793B">
              <a:alpha val="69804"/>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75" name="Shape">
            <a:extLst>
              <a:ext uri="{FF2B5EF4-FFF2-40B4-BE49-F238E27FC236}">
                <a16:creationId xmlns:a16="http://schemas.microsoft.com/office/drawing/2014/main" id="{AF3519CC-20F5-4B79-AA4C-61D70B7C1B6F}"/>
              </a:ext>
            </a:extLst>
          </p:cNvPr>
          <p:cNvSpPr/>
          <p:nvPr/>
        </p:nvSpPr>
        <p:spPr>
          <a:xfrm>
            <a:off x="812756" y="591968"/>
            <a:ext cx="11379243" cy="474580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6140" y="0"/>
                </a:lnTo>
                <a:lnTo>
                  <a:pt x="11349" y="13334"/>
                </a:lnTo>
                <a:lnTo>
                  <a:pt x="21600" y="13334"/>
                </a:lnTo>
                <a:lnTo>
                  <a:pt x="21600" y="21600"/>
                </a:lnTo>
                <a:lnTo>
                  <a:pt x="0" y="21600"/>
                </a:lnTo>
                <a:close/>
              </a:path>
            </a:pathLst>
          </a:custGeom>
          <a:solidFill>
            <a:srgbClr val="F9793B">
              <a:alpha val="69804"/>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0" name="Shape">
            <a:extLst>
              <a:ext uri="{FF2B5EF4-FFF2-40B4-BE49-F238E27FC236}">
                <a16:creationId xmlns:a16="http://schemas.microsoft.com/office/drawing/2014/main" id="{59FD696B-B315-47AA-A15B-E6623863EF73}"/>
              </a:ext>
            </a:extLst>
          </p:cNvPr>
          <p:cNvSpPr/>
          <p:nvPr/>
        </p:nvSpPr>
        <p:spPr>
          <a:xfrm>
            <a:off x="9101034" y="-1"/>
            <a:ext cx="3090967" cy="3078481"/>
          </a:xfrm>
          <a:custGeom>
            <a:avLst/>
            <a:gdLst/>
            <a:ahLst/>
            <a:cxnLst>
              <a:cxn ang="0">
                <a:pos x="wd2" y="hd2"/>
              </a:cxn>
              <a:cxn ang="5400000">
                <a:pos x="wd2" y="hd2"/>
              </a:cxn>
              <a:cxn ang="10800000">
                <a:pos x="wd2" y="hd2"/>
              </a:cxn>
              <a:cxn ang="16200000">
                <a:pos x="wd2" y="hd2"/>
              </a:cxn>
            </a:cxnLst>
            <a:rect l="0" t="0" r="r" b="b"/>
            <a:pathLst>
              <a:path w="21600" h="21600" extrusionOk="0">
                <a:moveTo>
                  <a:pt x="4445" y="0"/>
                </a:moveTo>
                <a:lnTo>
                  <a:pt x="0" y="0"/>
                </a:lnTo>
                <a:lnTo>
                  <a:pt x="21600" y="21600"/>
                </a:lnTo>
                <a:lnTo>
                  <a:pt x="21600" y="17169"/>
                </a:lnTo>
                <a:close/>
              </a:path>
            </a:pathLst>
          </a:custGeom>
          <a:solidFill>
            <a:srgbClr val="F9793B">
              <a:alpha val="69804"/>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0" name="Rectangle 159">
            <a:extLst>
              <a:ext uri="{FF2B5EF4-FFF2-40B4-BE49-F238E27FC236}">
                <a16:creationId xmlns:a16="http://schemas.microsoft.com/office/drawing/2014/main" id="{85F09EAB-A5C3-48F2-A08C-403EC9D7FECA}"/>
              </a:ext>
            </a:extLst>
          </p:cNvPr>
          <p:cNvSpPr/>
          <p:nvPr/>
        </p:nvSpPr>
        <p:spPr>
          <a:xfrm>
            <a:off x="0" y="18066"/>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164" name="Shape">
            <a:extLst>
              <a:ext uri="{FF2B5EF4-FFF2-40B4-BE49-F238E27FC236}">
                <a16:creationId xmlns:a16="http://schemas.microsoft.com/office/drawing/2014/main" id="{085CDE2B-FC15-44A5-B936-EA05A51AAA29}"/>
              </a:ext>
            </a:extLst>
          </p:cNvPr>
          <p:cNvSpPr/>
          <p:nvPr/>
        </p:nvSpPr>
        <p:spPr>
          <a:xfrm>
            <a:off x="812756" y="-11430"/>
            <a:ext cx="4759369" cy="6858000"/>
          </a:xfrm>
          <a:custGeom>
            <a:avLst/>
            <a:gdLst>
              <a:gd name="connsiteX0" fmla="*/ 2005 w 21600"/>
              <a:gd name="connsiteY0" fmla="*/ 0 h 21600"/>
              <a:gd name="connsiteX1" fmla="*/ 21600 w 21600"/>
              <a:gd name="connsiteY1" fmla="*/ 16818 h 21600"/>
              <a:gd name="connsiteX2" fmla="*/ 16096 w 21600"/>
              <a:gd name="connsiteY2" fmla="*/ 21600 h 21600"/>
              <a:gd name="connsiteX3" fmla="*/ 0 w 21600"/>
              <a:gd name="connsiteY3" fmla="*/ 21600 h 21600"/>
              <a:gd name="connsiteX4" fmla="*/ 0 w 21600"/>
              <a:gd name="connsiteY4" fmla="*/ 0 h 21600"/>
              <a:gd name="connsiteX5" fmla="*/ 2005 w 21600"/>
              <a:gd name="connsiteY5"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0" h="21600" extrusionOk="0">
                <a:moveTo>
                  <a:pt x="2005" y="0"/>
                </a:moveTo>
                <a:lnTo>
                  <a:pt x="21600" y="16818"/>
                </a:lnTo>
                <a:lnTo>
                  <a:pt x="16096" y="21600"/>
                </a:lnTo>
                <a:lnTo>
                  <a:pt x="0" y="21600"/>
                </a:lnTo>
                <a:lnTo>
                  <a:pt x="0" y="0"/>
                </a:lnTo>
                <a:lnTo>
                  <a:pt x="2005" y="0"/>
                </a:lnTo>
                <a:close/>
              </a:path>
            </a:pathLst>
          </a:custGeom>
          <a:solidFill>
            <a:schemeClr val="accent2">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5" name="Oval 31">
            <a:extLst>
              <a:ext uri="{FF2B5EF4-FFF2-40B4-BE49-F238E27FC236}">
                <a16:creationId xmlns:a16="http://schemas.microsoft.com/office/drawing/2014/main" id="{6B396CF0-5373-4449-AF85-B4E2CCC666EC}"/>
              </a:ext>
            </a:extLst>
          </p:cNvPr>
          <p:cNvSpPr/>
          <p:nvPr/>
        </p:nvSpPr>
        <p:spPr>
          <a:xfrm>
            <a:off x="1679167" y="4338864"/>
            <a:ext cx="2339746" cy="1463040"/>
          </a:xfrm>
          <a:prstGeom prst="roundRect">
            <a:avLst>
              <a:gd name="adj" fmla="val 12500"/>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66" name="Picture 4" descr="BSNL - Wikipedia">
            <a:extLst>
              <a:ext uri="{FF2B5EF4-FFF2-40B4-BE49-F238E27FC236}">
                <a16:creationId xmlns:a16="http://schemas.microsoft.com/office/drawing/2014/main" id="{67E9BFED-9D82-4E6D-9AEE-20CE7848E24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01290" y="4602446"/>
            <a:ext cx="2095500" cy="923925"/>
          </a:xfrm>
          <a:prstGeom prst="rect">
            <a:avLst/>
          </a:prstGeom>
          <a:noFill/>
          <a:extLst>
            <a:ext uri="{909E8E84-426E-40DD-AFC4-6F175D3DCCD1}">
              <a14:hiddenFill xmlns:a14="http://schemas.microsoft.com/office/drawing/2010/main">
                <a:solidFill>
                  <a:srgbClr val="FFFFFF"/>
                </a:solidFill>
              </a14:hiddenFill>
            </a:ext>
          </a:extLst>
        </p:spPr>
      </p:pic>
      <p:sp>
        <p:nvSpPr>
          <p:cNvPr id="167" name="Shape">
            <a:extLst>
              <a:ext uri="{FF2B5EF4-FFF2-40B4-BE49-F238E27FC236}">
                <a16:creationId xmlns:a16="http://schemas.microsoft.com/office/drawing/2014/main" id="{A5B3F08E-7768-490F-9E57-8A92A93B3676}"/>
              </a:ext>
            </a:extLst>
          </p:cNvPr>
          <p:cNvSpPr/>
          <p:nvPr/>
        </p:nvSpPr>
        <p:spPr>
          <a:xfrm>
            <a:off x="8483837" y="-1"/>
            <a:ext cx="2895407" cy="2250242"/>
          </a:xfrm>
          <a:custGeom>
            <a:avLst/>
            <a:gdLst/>
            <a:ahLst/>
            <a:cxnLst>
              <a:cxn ang="0">
                <a:pos x="wd2" y="hd2"/>
              </a:cxn>
              <a:cxn ang="5400000">
                <a:pos x="wd2" y="hd2"/>
              </a:cxn>
              <a:cxn ang="10800000">
                <a:pos x="wd2" y="hd2"/>
              </a:cxn>
              <a:cxn ang="16200000">
                <a:pos x="wd2" y="hd2"/>
              </a:cxn>
            </a:cxnLst>
            <a:rect l="0" t="0" r="r" b="b"/>
            <a:pathLst>
              <a:path w="21600" h="21600" extrusionOk="0">
                <a:moveTo>
                  <a:pt x="4731" y="0"/>
                </a:moveTo>
                <a:lnTo>
                  <a:pt x="0" y="0"/>
                </a:lnTo>
                <a:lnTo>
                  <a:pt x="16855" y="21600"/>
                </a:lnTo>
                <a:lnTo>
                  <a:pt x="21600" y="21600"/>
                </a:lnTo>
                <a:close/>
              </a:path>
            </a:pathLst>
          </a:custGeom>
          <a:solidFill>
            <a:schemeClr val="accent2">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2" name="Shape">
            <a:extLst>
              <a:ext uri="{FF2B5EF4-FFF2-40B4-BE49-F238E27FC236}">
                <a16:creationId xmlns:a16="http://schemas.microsoft.com/office/drawing/2014/main" id="{09D8CB40-57F1-45C8-AB3E-D8D7D6E698E7}"/>
              </a:ext>
            </a:extLst>
          </p:cNvPr>
          <p:cNvSpPr/>
          <p:nvPr/>
        </p:nvSpPr>
        <p:spPr>
          <a:xfrm>
            <a:off x="808975" y="-995"/>
            <a:ext cx="4759369" cy="6857999"/>
          </a:xfrm>
          <a:custGeom>
            <a:avLst/>
            <a:gdLst>
              <a:gd name="connsiteX0" fmla="*/ 2005 w 21600"/>
              <a:gd name="connsiteY0" fmla="*/ 0 h 21600"/>
              <a:gd name="connsiteX1" fmla="*/ 21600 w 21600"/>
              <a:gd name="connsiteY1" fmla="*/ 16818 h 21600"/>
              <a:gd name="connsiteX2" fmla="*/ 16096 w 21600"/>
              <a:gd name="connsiteY2" fmla="*/ 21600 h 21600"/>
              <a:gd name="connsiteX3" fmla="*/ 0 w 21600"/>
              <a:gd name="connsiteY3" fmla="*/ 21600 h 21600"/>
              <a:gd name="connsiteX4" fmla="*/ 0 w 21600"/>
              <a:gd name="connsiteY4" fmla="*/ 0 h 21600"/>
              <a:gd name="connsiteX5" fmla="*/ 2005 w 21600"/>
              <a:gd name="connsiteY5"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0" h="21600" extrusionOk="0">
                <a:moveTo>
                  <a:pt x="2005" y="0"/>
                </a:moveTo>
                <a:lnTo>
                  <a:pt x="21600" y="16818"/>
                </a:lnTo>
                <a:lnTo>
                  <a:pt x="16096" y="21600"/>
                </a:lnTo>
                <a:lnTo>
                  <a:pt x="0" y="21600"/>
                </a:lnTo>
                <a:lnTo>
                  <a:pt x="0" y="0"/>
                </a:lnTo>
                <a:lnTo>
                  <a:pt x="2005" y="0"/>
                </a:lnTo>
                <a:close/>
              </a:path>
            </a:pathLst>
          </a:custGeom>
          <a:noFill/>
          <a:ln w="9525" cap="rnd" cmpd="sng" algn="ctr">
            <a:gradFill>
              <a:gsLst>
                <a:gs pos="20000">
                  <a:srgbClr val="00436A"/>
                </a:gs>
                <a:gs pos="0">
                  <a:schemeClr val="bg1"/>
                </a:gs>
              </a:gsLst>
              <a:lin ang="5400000" scaled="1"/>
            </a:gradFill>
            <a:prstDash val="solid"/>
            <a:round/>
            <a:headEnd type="none" w="med" len="med"/>
            <a:tailEnd type="none" w="med" len="med"/>
          </a:ln>
          <a:extLst>
            <a:ext uri="{909E8E84-426E-40DD-AFC4-6F175D3DCCD1}">
              <a14:hiddenFill xmlns:a14="http://schemas.microsoft.com/office/drawing/2010/main">
                <a:solidFill>
                  <a:schemeClr val="accent2">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 name="Title 1">
            <a:extLst>
              <a:ext uri="{FF2B5EF4-FFF2-40B4-BE49-F238E27FC236}">
                <a16:creationId xmlns:a16="http://schemas.microsoft.com/office/drawing/2014/main" id="{370EC0C8-B093-7215-A4C0-7536EE364DEF}"/>
              </a:ext>
            </a:extLst>
          </p:cNvPr>
          <p:cNvSpPr txBox="1">
            <a:spLocks/>
          </p:cNvSpPr>
          <p:nvPr/>
        </p:nvSpPr>
        <p:spPr>
          <a:xfrm>
            <a:off x="5694247" y="3974090"/>
            <a:ext cx="6297727" cy="923330"/>
          </a:xfrm>
          <a:prstGeom prst="rect">
            <a:avLst/>
          </a:prstGeom>
        </p:spPr>
        <p:txBody>
          <a:bodyPr vert="horz" wrap="square" lIns="0" tIns="0" rIns="0" bIns="0" anchor="b">
            <a:spAutoFit/>
          </a:bodyPr>
          <a:lstStyle>
            <a:lvl1pPr algn="l" defTabSz="914400" rtl="0" eaLnBrk="1" latinLnBrk="0" hangingPunct="1">
              <a:lnSpc>
                <a:spcPct val="90000"/>
              </a:lnSpc>
              <a:spcBef>
                <a:spcPct val="0"/>
              </a:spcBef>
              <a:buNone/>
              <a:defRPr sz="2400" b="1" kern="1200">
                <a:solidFill>
                  <a:srgbClr val="6D8187"/>
                </a:solidFill>
                <a:latin typeface="+mj-lt"/>
                <a:ea typeface="+mj-ea"/>
                <a:cs typeface="+mj-cs"/>
                <a:sym typeface="Trebuchet MS" panose="020B0603020202020204" pitchFamily="34" charset="0"/>
              </a:defRPr>
            </a:lvl1pPr>
          </a:lstStyle>
          <a:p>
            <a:pPr>
              <a:lnSpc>
                <a:spcPct val="100000"/>
              </a:lnSpc>
            </a:pPr>
            <a:r>
              <a:rPr lang="en-US" sz="3000">
                <a:solidFill>
                  <a:schemeClr val="bg1"/>
                </a:solidFill>
              </a:rPr>
              <a:t>Elevate Your Connectivity with BSNL Internet Leased Line Today!</a:t>
            </a:r>
          </a:p>
        </p:txBody>
      </p:sp>
      <p:grpSp>
        <p:nvGrpSpPr>
          <p:cNvPr id="10" name="Group 9">
            <a:extLst>
              <a:ext uri="{FF2B5EF4-FFF2-40B4-BE49-F238E27FC236}">
                <a16:creationId xmlns:a16="http://schemas.microsoft.com/office/drawing/2014/main" id="{C1CD9571-98E2-8F88-0FB2-312CA5F3FFA0}"/>
              </a:ext>
            </a:extLst>
          </p:cNvPr>
          <p:cNvGrpSpPr/>
          <p:nvPr/>
        </p:nvGrpSpPr>
        <p:grpSpPr>
          <a:xfrm>
            <a:off x="5579326" y="5362876"/>
            <a:ext cx="2841658" cy="535454"/>
            <a:chOff x="5579326" y="5362876"/>
            <a:chExt cx="2288839" cy="535454"/>
          </a:xfrm>
        </p:grpSpPr>
        <p:sp>
          <p:nvSpPr>
            <p:cNvPr id="169" name="Title 9">
              <a:extLst>
                <a:ext uri="{FF2B5EF4-FFF2-40B4-BE49-F238E27FC236}">
                  <a16:creationId xmlns:a16="http://schemas.microsoft.com/office/drawing/2014/main" id="{5F439D3E-603F-4A49-85C5-39DC6254F47E}"/>
                </a:ext>
              </a:extLst>
            </p:cNvPr>
            <p:cNvSpPr txBox="1">
              <a:spLocks/>
            </p:cNvSpPr>
            <p:nvPr/>
          </p:nvSpPr>
          <p:spPr>
            <a:xfrm>
              <a:off x="6030931" y="5362876"/>
              <a:ext cx="1837234" cy="535454"/>
            </a:xfrm>
            <a:prstGeom prst="rect">
              <a:avLst/>
            </a:prstGeom>
          </p:spPr>
          <p:txBody>
            <a:bodyPr vert="horz" lIns="0" tIns="0" rIns="0" bIns="0" rtlCol="0" anchor="ctr">
              <a:noAutofit/>
            </a:bodyPr>
            <a:lstStyle>
              <a:defPPr>
                <a:defRPr lang="en-US"/>
              </a:defPPr>
              <a:lvl1pPr indent="0">
                <a:lnSpc>
                  <a:spcPct val="110000"/>
                </a:lnSpc>
                <a:spcBef>
                  <a:spcPts val="600"/>
                </a:spcBef>
                <a:spcAft>
                  <a:spcPts val="300"/>
                </a:spcAft>
                <a:buFont typeface="Arial" panose="020B0604020202020204" pitchFamily="34" charset="0"/>
                <a:buChar char="​"/>
              </a:lvl1pPr>
              <a:lvl2pPr marL="284400" indent="-172800">
                <a:lnSpc>
                  <a:spcPct val="90000"/>
                </a:lnSpc>
                <a:spcBef>
                  <a:spcPts val="0"/>
                </a:spcBef>
                <a:spcAft>
                  <a:spcPts val="300"/>
                </a:spcAft>
                <a:buClr>
                  <a:schemeClr val="tx2"/>
                </a:buClr>
                <a:buFont typeface="Arial" panose="020B0604020202020204" pitchFamily="34" charset="0"/>
                <a:buChar char="•"/>
                <a:defRPr sz="1200"/>
              </a:lvl2pPr>
              <a:lvl3pPr marL="511200" indent="-165600">
                <a:lnSpc>
                  <a:spcPct val="90000"/>
                </a:lnSpc>
                <a:spcBef>
                  <a:spcPts val="0"/>
                </a:spcBef>
                <a:spcAft>
                  <a:spcPts val="300"/>
                </a:spcAft>
                <a:buClr>
                  <a:schemeClr val="tx2"/>
                </a:buClr>
                <a:buFont typeface="Trebuchet MS" panose="020B0603020202020204" pitchFamily="34" charset="0"/>
                <a:buChar char="–"/>
                <a:defRPr sz="1200"/>
              </a:lvl3pPr>
              <a:lvl4pPr marL="0" indent="0">
                <a:lnSpc>
                  <a:spcPct val="110000"/>
                </a:lnSpc>
                <a:spcBef>
                  <a:spcPts val="300"/>
                </a:spcBef>
                <a:spcAft>
                  <a:spcPts val="300"/>
                </a:spcAft>
                <a:buClr>
                  <a:schemeClr val="tx2"/>
                </a:buClr>
                <a:buFont typeface="Arial" panose="020B0604020202020204" pitchFamily="34" charset="0"/>
                <a:buChar char="​"/>
                <a:defRPr sz="1600">
                  <a:solidFill>
                    <a:schemeClr val="tx2"/>
                  </a:solidFill>
                </a:defRPr>
              </a:lvl4pPr>
              <a:lvl5pPr marL="0" indent="0">
                <a:lnSpc>
                  <a:spcPct val="100000"/>
                </a:lnSpc>
                <a:spcBef>
                  <a:spcPts val="0"/>
                </a:spcBef>
                <a:spcAft>
                  <a:spcPts val="300"/>
                </a:spcAft>
                <a:buClrTx/>
                <a:buFont typeface="Arial" panose="020B0604020202020204" pitchFamily="34" charset="0"/>
                <a:buChar char="​"/>
                <a:defRPr sz="1600" b="1"/>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r>
                <a:rPr lang="en-US" sz="2000">
                  <a:solidFill>
                    <a:schemeClr val="bg1"/>
                  </a:solidFill>
                  <a:latin typeface="+mj-lt"/>
                </a:rPr>
                <a:t>+91-</a:t>
              </a:r>
              <a:r>
                <a:rPr lang="en-US" sz="2000">
                  <a:solidFill>
                    <a:srgbClr val="E71C57"/>
                  </a:solidFill>
                  <a:latin typeface="+mj-lt"/>
                </a:rPr>
                <a:t>1800-425-7007</a:t>
              </a:r>
            </a:p>
          </p:txBody>
        </p:sp>
        <p:pic>
          <p:nvPicPr>
            <p:cNvPr id="5" name="Graphic 4">
              <a:extLst>
                <a:ext uri="{FF2B5EF4-FFF2-40B4-BE49-F238E27FC236}">
                  <a16:creationId xmlns:a16="http://schemas.microsoft.com/office/drawing/2014/main" id="{EB5CCEED-E682-5207-BCC6-7E7FB71D44E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79326" y="5409341"/>
              <a:ext cx="442524" cy="442524"/>
            </a:xfrm>
            <a:prstGeom prst="rect">
              <a:avLst/>
            </a:prstGeom>
          </p:spPr>
        </p:pic>
      </p:grpSp>
      <p:sp>
        <p:nvSpPr>
          <p:cNvPr id="7" name="AutoShape 7">
            <a:extLst>
              <a:ext uri="{FF2B5EF4-FFF2-40B4-BE49-F238E27FC236}">
                <a16:creationId xmlns:a16="http://schemas.microsoft.com/office/drawing/2014/main" id="{14AA7C5D-FE26-66C4-594D-1EEFA0B630C6}"/>
              </a:ext>
            </a:extLst>
          </p:cNvPr>
          <p:cNvSpPr>
            <a:spLocks noChangeAspect="1" noChangeArrowheads="1" noTextEdit="1"/>
          </p:cNvSpPr>
          <p:nvPr/>
        </p:nvSpPr>
        <p:spPr bwMode="auto">
          <a:xfrm>
            <a:off x="7964231" y="5402003"/>
            <a:ext cx="45675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a:extLst>
              <a:ext uri="{FF2B5EF4-FFF2-40B4-BE49-F238E27FC236}">
                <a16:creationId xmlns:a16="http://schemas.microsoft.com/office/drawing/2014/main" id="{3FA10F93-E631-9DF2-F2CD-A5D4AFAC88C2}"/>
              </a:ext>
            </a:extLst>
          </p:cNvPr>
          <p:cNvGrpSpPr/>
          <p:nvPr/>
        </p:nvGrpSpPr>
        <p:grpSpPr>
          <a:xfrm>
            <a:off x="8519292" y="5362876"/>
            <a:ext cx="2958005" cy="535454"/>
            <a:chOff x="8095201" y="5362876"/>
            <a:chExt cx="2958005" cy="535454"/>
          </a:xfrm>
        </p:grpSpPr>
        <p:sp>
          <p:nvSpPr>
            <p:cNvPr id="3" name="Title 9">
              <a:extLst>
                <a:ext uri="{FF2B5EF4-FFF2-40B4-BE49-F238E27FC236}">
                  <a16:creationId xmlns:a16="http://schemas.microsoft.com/office/drawing/2014/main" id="{0F1D04FB-20CA-901C-BED3-323A9F4ED43C}"/>
                </a:ext>
              </a:extLst>
            </p:cNvPr>
            <p:cNvSpPr txBox="1">
              <a:spLocks/>
            </p:cNvSpPr>
            <p:nvPr/>
          </p:nvSpPr>
          <p:spPr>
            <a:xfrm>
              <a:off x="8516234" y="5362876"/>
              <a:ext cx="2536972" cy="535454"/>
            </a:xfrm>
            <a:prstGeom prst="rect">
              <a:avLst/>
            </a:prstGeom>
          </p:spPr>
          <p:txBody>
            <a:bodyPr vert="horz" lIns="0" tIns="0" rIns="0" bIns="0" rtlCol="0" anchor="ctr">
              <a:noAutofit/>
            </a:bodyPr>
            <a:lstStyle>
              <a:defPPr>
                <a:defRPr lang="en-US"/>
              </a:defPPr>
              <a:lvl1pPr indent="0">
                <a:lnSpc>
                  <a:spcPct val="110000"/>
                </a:lnSpc>
                <a:spcBef>
                  <a:spcPts val="600"/>
                </a:spcBef>
                <a:spcAft>
                  <a:spcPts val="300"/>
                </a:spcAft>
                <a:buFont typeface="Arial" panose="020B0604020202020204" pitchFamily="34" charset="0"/>
                <a:buChar char="​"/>
              </a:lvl1pPr>
              <a:lvl2pPr marL="284400" indent="-172800">
                <a:lnSpc>
                  <a:spcPct val="90000"/>
                </a:lnSpc>
                <a:spcBef>
                  <a:spcPts val="0"/>
                </a:spcBef>
                <a:spcAft>
                  <a:spcPts val="300"/>
                </a:spcAft>
                <a:buClr>
                  <a:schemeClr val="tx2"/>
                </a:buClr>
                <a:buFont typeface="Arial" panose="020B0604020202020204" pitchFamily="34" charset="0"/>
                <a:buChar char="•"/>
                <a:defRPr sz="1200"/>
              </a:lvl2pPr>
              <a:lvl3pPr marL="511200" indent="-165600">
                <a:lnSpc>
                  <a:spcPct val="90000"/>
                </a:lnSpc>
                <a:spcBef>
                  <a:spcPts val="0"/>
                </a:spcBef>
                <a:spcAft>
                  <a:spcPts val="300"/>
                </a:spcAft>
                <a:buClr>
                  <a:schemeClr val="tx2"/>
                </a:buClr>
                <a:buFont typeface="Trebuchet MS" panose="020B0603020202020204" pitchFamily="34" charset="0"/>
                <a:buChar char="–"/>
                <a:defRPr sz="1200"/>
              </a:lvl3pPr>
              <a:lvl4pPr marL="0" indent="0">
                <a:lnSpc>
                  <a:spcPct val="110000"/>
                </a:lnSpc>
                <a:spcBef>
                  <a:spcPts val="300"/>
                </a:spcBef>
                <a:spcAft>
                  <a:spcPts val="300"/>
                </a:spcAft>
                <a:buClr>
                  <a:schemeClr val="tx2"/>
                </a:buClr>
                <a:buFont typeface="Arial" panose="020B0604020202020204" pitchFamily="34" charset="0"/>
                <a:buChar char="​"/>
                <a:defRPr sz="1600">
                  <a:solidFill>
                    <a:schemeClr val="tx2"/>
                  </a:solidFill>
                </a:defRPr>
              </a:lvl4pPr>
              <a:lvl5pPr marL="0" indent="0">
                <a:lnSpc>
                  <a:spcPct val="100000"/>
                </a:lnSpc>
                <a:spcBef>
                  <a:spcPts val="0"/>
                </a:spcBef>
                <a:spcAft>
                  <a:spcPts val="300"/>
                </a:spcAft>
                <a:buClrTx/>
                <a:buFont typeface="Arial" panose="020B0604020202020204" pitchFamily="34" charset="0"/>
                <a:buChar char="​"/>
                <a:defRPr sz="1600" b="1"/>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r>
                <a:rPr lang="en-US" sz="2000">
                  <a:solidFill>
                    <a:srgbClr val="E71C57"/>
                  </a:solidFill>
                  <a:latin typeface="+mj-lt"/>
                </a:rPr>
                <a:t>ebenquiry</a:t>
              </a:r>
              <a:r>
                <a:rPr lang="en-US" sz="2000">
                  <a:solidFill>
                    <a:schemeClr val="bg1"/>
                  </a:solidFill>
                  <a:latin typeface="+mj-lt"/>
                </a:rPr>
                <a:t>@bsnl.co.in</a:t>
              </a:r>
            </a:p>
          </p:txBody>
        </p:sp>
        <p:sp>
          <p:nvSpPr>
            <p:cNvPr id="8" name="Freeform 9">
              <a:extLst>
                <a:ext uri="{FF2B5EF4-FFF2-40B4-BE49-F238E27FC236}">
                  <a16:creationId xmlns:a16="http://schemas.microsoft.com/office/drawing/2014/main" id="{9356D4C6-C133-BFEE-129C-CD4FFEF2EF5E}"/>
                </a:ext>
              </a:extLst>
            </p:cNvPr>
            <p:cNvSpPr>
              <a:spLocks noEditPoints="1"/>
            </p:cNvSpPr>
            <p:nvPr/>
          </p:nvSpPr>
          <p:spPr bwMode="auto">
            <a:xfrm>
              <a:off x="8095201" y="5510746"/>
              <a:ext cx="332421" cy="239713"/>
            </a:xfrm>
            <a:custGeom>
              <a:avLst/>
              <a:gdLst>
                <a:gd name="T0" fmla="*/ 880 w 880"/>
                <a:gd name="T1" fmla="*/ 38 h 634"/>
                <a:gd name="T2" fmla="*/ 880 w 880"/>
                <a:gd name="T3" fmla="*/ 621 h 634"/>
                <a:gd name="T4" fmla="*/ 874 w 880"/>
                <a:gd name="T5" fmla="*/ 624 h 634"/>
                <a:gd name="T6" fmla="*/ 579 w 880"/>
                <a:gd name="T7" fmla="*/ 292 h 634"/>
                <a:gd name="T8" fmla="*/ 579 w 880"/>
                <a:gd name="T9" fmla="*/ 286 h 634"/>
                <a:gd name="T10" fmla="*/ 880 w 880"/>
                <a:gd name="T11" fmla="*/ 38 h 634"/>
                <a:gd name="T12" fmla="*/ 880 w 880"/>
                <a:gd name="T13" fmla="*/ 38 h 634"/>
                <a:gd name="T14" fmla="*/ 0 w 880"/>
                <a:gd name="T15" fmla="*/ 38 h 634"/>
                <a:gd name="T16" fmla="*/ 0 w 880"/>
                <a:gd name="T17" fmla="*/ 621 h 634"/>
                <a:gd name="T18" fmla="*/ 6 w 880"/>
                <a:gd name="T19" fmla="*/ 624 h 634"/>
                <a:gd name="T20" fmla="*/ 301 w 880"/>
                <a:gd name="T21" fmla="*/ 292 h 634"/>
                <a:gd name="T22" fmla="*/ 301 w 880"/>
                <a:gd name="T23" fmla="*/ 286 h 634"/>
                <a:gd name="T24" fmla="*/ 0 w 880"/>
                <a:gd name="T25" fmla="*/ 38 h 634"/>
                <a:gd name="T26" fmla="*/ 0 w 880"/>
                <a:gd name="T27" fmla="*/ 38 h 634"/>
                <a:gd name="T28" fmla="*/ 828 w 880"/>
                <a:gd name="T29" fmla="*/ 634 h 634"/>
                <a:gd name="T30" fmla="*/ 828 w 880"/>
                <a:gd name="T31" fmla="*/ 634 h 634"/>
                <a:gd name="T32" fmla="*/ 552 w 880"/>
                <a:gd name="T33" fmla="*/ 323 h 634"/>
                <a:gd name="T34" fmla="*/ 547 w 880"/>
                <a:gd name="T35" fmla="*/ 322 h 634"/>
                <a:gd name="T36" fmla="*/ 444 w 880"/>
                <a:gd name="T37" fmla="*/ 414 h 634"/>
                <a:gd name="T38" fmla="*/ 439 w 880"/>
                <a:gd name="T39" fmla="*/ 414 h 634"/>
                <a:gd name="T40" fmla="*/ 335 w 880"/>
                <a:gd name="T41" fmla="*/ 322 h 634"/>
                <a:gd name="T42" fmla="*/ 330 w 880"/>
                <a:gd name="T43" fmla="*/ 323 h 634"/>
                <a:gd name="T44" fmla="*/ 53 w 880"/>
                <a:gd name="T45" fmla="*/ 627 h 634"/>
                <a:gd name="T46" fmla="*/ 56 w 880"/>
                <a:gd name="T47" fmla="*/ 634 h 634"/>
                <a:gd name="T48" fmla="*/ 828 w 880"/>
                <a:gd name="T49" fmla="*/ 634 h 634"/>
                <a:gd name="T50" fmla="*/ 828 w 880"/>
                <a:gd name="T51" fmla="*/ 634 h 634"/>
                <a:gd name="T52" fmla="*/ 864 w 880"/>
                <a:gd name="T53" fmla="*/ 0 h 634"/>
                <a:gd name="T54" fmla="*/ 16 w 880"/>
                <a:gd name="T55" fmla="*/ 0 h 634"/>
                <a:gd name="T56" fmla="*/ 14 w 880"/>
                <a:gd name="T57" fmla="*/ 7 h 634"/>
                <a:gd name="T58" fmla="*/ 437 w 880"/>
                <a:gd name="T59" fmla="*/ 358 h 634"/>
                <a:gd name="T60" fmla="*/ 441 w 880"/>
                <a:gd name="T61" fmla="*/ 358 h 634"/>
                <a:gd name="T62" fmla="*/ 866 w 880"/>
                <a:gd name="T63" fmla="*/ 7 h 634"/>
                <a:gd name="T64" fmla="*/ 864 w 880"/>
                <a:gd name="T65"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0" h="634">
                  <a:moveTo>
                    <a:pt x="880" y="38"/>
                  </a:moveTo>
                  <a:cubicBezTo>
                    <a:pt x="880" y="621"/>
                    <a:pt x="880" y="621"/>
                    <a:pt x="880" y="621"/>
                  </a:cubicBezTo>
                  <a:cubicBezTo>
                    <a:pt x="880" y="625"/>
                    <a:pt x="876" y="626"/>
                    <a:pt x="874" y="624"/>
                  </a:cubicBezTo>
                  <a:cubicBezTo>
                    <a:pt x="579" y="292"/>
                    <a:pt x="579" y="292"/>
                    <a:pt x="579" y="292"/>
                  </a:cubicBezTo>
                  <a:cubicBezTo>
                    <a:pt x="577" y="291"/>
                    <a:pt x="577" y="288"/>
                    <a:pt x="579" y="286"/>
                  </a:cubicBezTo>
                  <a:cubicBezTo>
                    <a:pt x="880" y="38"/>
                    <a:pt x="880" y="38"/>
                    <a:pt x="880" y="38"/>
                  </a:cubicBezTo>
                  <a:cubicBezTo>
                    <a:pt x="880" y="38"/>
                    <a:pt x="880" y="38"/>
                    <a:pt x="880" y="38"/>
                  </a:cubicBezTo>
                  <a:close/>
                  <a:moveTo>
                    <a:pt x="0" y="38"/>
                  </a:moveTo>
                  <a:cubicBezTo>
                    <a:pt x="0" y="621"/>
                    <a:pt x="0" y="621"/>
                    <a:pt x="0" y="621"/>
                  </a:cubicBezTo>
                  <a:cubicBezTo>
                    <a:pt x="0" y="625"/>
                    <a:pt x="4" y="626"/>
                    <a:pt x="6" y="624"/>
                  </a:cubicBezTo>
                  <a:cubicBezTo>
                    <a:pt x="301" y="292"/>
                    <a:pt x="301" y="292"/>
                    <a:pt x="301" y="292"/>
                  </a:cubicBezTo>
                  <a:cubicBezTo>
                    <a:pt x="303" y="291"/>
                    <a:pt x="303" y="288"/>
                    <a:pt x="301" y="286"/>
                  </a:cubicBezTo>
                  <a:cubicBezTo>
                    <a:pt x="0" y="38"/>
                    <a:pt x="0" y="38"/>
                    <a:pt x="0" y="38"/>
                  </a:cubicBezTo>
                  <a:cubicBezTo>
                    <a:pt x="0" y="38"/>
                    <a:pt x="0" y="38"/>
                    <a:pt x="0" y="38"/>
                  </a:cubicBezTo>
                  <a:close/>
                  <a:moveTo>
                    <a:pt x="828" y="634"/>
                  </a:moveTo>
                  <a:cubicBezTo>
                    <a:pt x="828" y="634"/>
                    <a:pt x="828" y="634"/>
                    <a:pt x="828" y="634"/>
                  </a:cubicBezTo>
                  <a:cubicBezTo>
                    <a:pt x="552" y="323"/>
                    <a:pt x="552" y="323"/>
                    <a:pt x="552" y="323"/>
                  </a:cubicBezTo>
                  <a:cubicBezTo>
                    <a:pt x="551" y="321"/>
                    <a:pt x="549" y="321"/>
                    <a:pt x="547" y="322"/>
                  </a:cubicBezTo>
                  <a:cubicBezTo>
                    <a:pt x="444" y="414"/>
                    <a:pt x="444" y="414"/>
                    <a:pt x="444" y="414"/>
                  </a:cubicBezTo>
                  <a:cubicBezTo>
                    <a:pt x="442" y="416"/>
                    <a:pt x="440" y="416"/>
                    <a:pt x="439" y="414"/>
                  </a:cubicBezTo>
                  <a:cubicBezTo>
                    <a:pt x="335" y="322"/>
                    <a:pt x="335" y="322"/>
                    <a:pt x="335" y="322"/>
                  </a:cubicBezTo>
                  <a:cubicBezTo>
                    <a:pt x="334" y="321"/>
                    <a:pt x="331" y="321"/>
                    <a:pt x="330" y="323"/>
                  </a:cubicBezTo>
                  <a:cubicBezTo>
                    <a:pt x="53" y="627"/>
                    <a:pt x="53" y="627"/>
                    <a:pt x="53" y="627"/>
                  </a:cubicBezTo>
                  <a:cubicBezTo>
                    <a:pt x="51" y="630"/>
                    <a:pt x="53" y="634"/>
                    <a:pt x="56" y="634"/>
                  </a:cubicBezTo>
                  <a:cubicBezTo>
                    <a:pt x="828" y="634"/>
                    <a:pt x="828" y="634"/>
                    <a:pt x="828" y="634"/>
                  </a:cubicBezTo>
                  <a:cubicBezTo>
                    <a:pt x="828" y="634"/>
                    <a:pt x="828" y="634"/>
                    <a:pt x="828" y="634"/>
                  </a:cubicBezTo>
                  <a:close/>
                  <a:moveTo>
                    <a:pt x="864" y="0"/>
                  </a:moveTo>
                  <a:cubicBezTo>
                    <a:pt x="16" y="0"/>
                    <a:pt x="16" y="0"/>
                    <a:pt x="16" y="0"/>
                  </a:cubicBezTo>
                  <a:cubicBezTo>
                    <a:pt x="12" y="0"/>
                    <a:pt x="11" y="5"/>
                    <a:pt x="14" y="7"/>
                  </a:cubicBezTo>
                  <a:cubicBezTo>
                    <a:pt x="437" y="358"/>
                    <a:pt x="437" y="358"/>
                    <a:pt x="437" y="358"/>
                  </a:cubicBezTo>
                  <a:cubicBezTo>
                    <a:pt x="438" y="359"/>
                    <a:pt x="440" y="359"/>
                    <a:pt x="441" y="358"/>
                  </a:cubicBezTo>
                  <a:cubicBezTo>
                    <a:pt x="866" y="7"/>
                    <a:pt x="866" y="7"/>
                    <a:pt x="866" y="7"/>
                  </a:cubicBezTo>
                  <a:cubicBezTo>
                    <a:pt x="869" y="5"/>
                    <a:pt x="867" y="0"/>
                    <a:pt x="864"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95898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ID" val="FoL01FVC"/>
  <p:tag name="EE4P_STYLE_NAME" val="BSNL Grid 16:9"/>
  <p:tag name="THINKCELLUNDODONOTDELETE" val="0"/>
  <p:tag name="DECKSTER_PRESENTATION_ID" val="e18b6fbd-6816-41b2-a0e0-debde79583e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7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8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8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86.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SNL Grid 16:9 - 22146">
  <a:themeElements>
    <a:clrScheme name="Grid based theme color">
      <a:dk1>
        <a:srgbClr val="333333"/>
      </a:dk1>
      <a:lt1>
        <a:sysClr val="window" lastClr="FFFFFF"/>
      </a:lt1>
      <a:dk2>
        <a:srgbClr val="0DA3E2"/>
      </a:dk2>
      <a:lt2>
        <a:srgbClr val="F2F2F2"/>
      </a:lt2>
      <a:accent1>
        <a:srgbClr val="05455F"/>
      </a:accent1>
      <a:accent2>
        <a:srgbClr val="00598E"/>
      </a:accent2>
      <a:accent3>
        <a:srgbClr val="FFFD77"/>
      </a:accent3>
      <a:accent4>
        <a:srgbClr val="65CBF6"/>
      </a:accent4>
      <a:accent5>
        <a:srgbClr val="7F7F7F"/>
      </a:accent5>
      <a:accent6>
        <a:srgbClr val="197A56"/>
      </a:accent6>
      <a:hlink>
        <a:srgbClr val="2E3558"/>
      </a:hlink>
      <a:folHlink>
        <a:srgbClr val="FF7777"/>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DA3E2"/>
        </a:solidFill>
        <a:ln w="9525" cap="rnd" cmpd="sng" algn="ctr">
          <a:noFill/>
          <a:prstDash val="solid"/>
          <a:round/>
          <a:headEnd type="none" w="med" len="med"/>
          <a:tailEnd type="none" w="med" len="med"/>
        </a:ln>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FA129BD-04C0-4C5B-BBDD-E1B4A332DE5D}">
  <we:reference id="1e02f4c4-fc90-4da1-8ab3-b26c44d971ec" version="2.2.0.0" store="EXCatalog" storeType="EXCatalog"/>
  <we:alternateReferences/>
  <we:properties>
    <we:property name="ClientColors" value="&quot;[\&quot;#333333\&quot;,\&quot;#0DA3E2\&quot;,\&quot;#05455F\&quot;,\&quot;#00598E\&quot;,\&quot;#FFFD77\&quot;,\&quot;#65CBF6\&quot;,\&quot;#7F7F7F\&quot;,\&quot;#197A56\&quot;,\&quot;#00598E\&quot;]&quot;"/>
    <we:property name="ThemeElements" value="&quot;{\&quot;colors\&quot;:[\&quot;#333333\&quot;,\&quot;#0DA3E2\&quot;,\&quot;#05455F\&quot;,\&quot;#00598E\&quot;,\&quot;#FFFD77\&quot;,\&quot;#65CBF6\&quot;,\&quot;#7F7F7F\&quot;,\&quot;#197A56\&quot;,\&quot;#00598E\&quot;],\&quot;fonts\&quot;:[\&quot;Trebuchet MS\&quot;]}&quot;"/>
    <we:property name="ClientFonts" value="&quot;[\&quot;Trebuchet MS\&quot;]&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0c06f83-eb3a-4154-b6df-c050a871a9a7" xsi:nil="true"/>
    <lcf76f155ced4ddcb4097134ff3c332f xmlns="d4a8732a-aacb-45a8-aed5-6309649c2e20">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8AA247FB109614B9C824E32EE240D1D" ma:contentTypeVersion="14" ma:contentTypeDescription="Create a new document." ma:contentTypeScope="" ma:versionID="7e528e43c0ac6465bea9f2b3b40f094c">
  <xsd:schema xmlns:xsd="http://www.w3.org/2001/XMLSchema" xmlns:xs="http://www.w3.org/2001/XMLSchema" xmlns:p="http://schemas.microsoft.com/office/2006/metadata/properties" xmlns:ns2="d4a8732a-aacb-45a8-aed5-6309649c2e20" xmlns:ns3="40c06f83-eb3a-4154-b6df-c050a871a9a7" targetNamespace="http://schemas.microsoft.com/office/2006/metadata/properties" ma:root="true" ma:fieldsID="72037efcdd5ca67cf52a76cf1fa3113f" ns2:_="" ns3:_="">
    <xsd:import namespace="d4a8732a-aacb-45a8-aed5-6309649c2e20"/>
    <xsd:import namespace="40c06f83-eb3a-4154-b6df-c050a871a9a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a8732a-aacb-45a8-aed5-6309649c2e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0c06f83-eb3a-4154-b6df-c050a871a9a7"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15f3beb-da26-446e-9a45-f1c8e7258fc0}" ma:internalName="TaxCatchAll" ma:showField="CatchAllData" ma:web="40c06f83-eb3a-4154-b6df-c050a871a9a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D1BE0D-3017-4C93-A7DD-B0DDFEB827C1}">
  <ds:schemaRefs>
    <ds:schemaRef ds:uri="d4a8732a-aacb-45a8-aed5-6309649c2e20"/>
    <ds:schemaRef ds:uri="http://purl.org/dc/dcmitype/"/>
    <ds:schemaRef ds:uri="http://schemas.microsoft.com/office/2006/documentManagement/types"/>
    <ds:schemaRef ds:uri="http://schemas.openxmlformats.org/package/2006/metadata/core-properties"/>
    <ds:schemaRef ds:uri="http://www.w3.org/XML/1998/namespace"/>
    <ds:schemaRef ds:uri="http://purl.org/dc/terms/"/>
    <ds:schemaRef ds:uri="http://purl.org/dc/elements/1.1/"/>
    <ds:schemaRef ds:uri="http://schemas.microsoft.com/office/infopath/2007/PartnerControls"/>
    <ds:schemaRef ds:uri="40c06f83-eb3a-4154-b6df-c050a871a9a7"/>
    <ds:schemaRef ds:uri="http://schemas.microsoft.com/office/2006/metadata/properties"/>
  </ds:schemaRefs>
</ds:datastoreItem>
</file>

<file path=customXml/itemProps2.xml><?xml version="1.0" encoding="utf-8"?>
<ds:datastoreItem xmlns:ds="http://schemas.openxmlformats.org/officeDocument/2006/customXml" ds:itemID="{5E7B2E1A-EB20-4CCF-BE9D-FAE95D01FA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a8732a-aacb-45a8-aed5-6309649c2e20"/>
    <ds:schemaRef ds:uri="40c06f83-eb3a-4154-b6df-c050a871a9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2512C25-0EE1-4B01-A1E6-39C363B1812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TotalTime>
  <Words>281</Words>
  <Application>Microsoft Office PowerPoint</Application>
  <PresentationFormat>Widescreen</PresentationFormat>
  <Paragraphs>49</Paragraphs>
  <Slides>4</Slides>
  <Notes>3</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ariant>
        <vt:lpstr>Custom Shows</vt:lpstr>
      </vt:variant>
      <vt:variant>
        <vt:i4>1</vt:i4>
      </vt:variant>
    </vt:vector>
  </HeadingPairs>
  <TitlesOfParts>
    <vt:vector size="9" baseType="lpstr">
      <vt:lpstr>Arial</vt:lpstr>
      <vt:lpstr>Trebuchet MS</vt:lpstr>
      <vt:lpstr>BSNL Grid 16:9 - 22146</vt:lpstr>
      <vt:lpstr>think-cell Slide</vt:lpstr>
      <vt:lpstr>BSNL for Enterprise</vt:lpstr>
      <vt:lpstr>BSNL – Empowering digital connectivity across India</vt:lpstr>
      <vt:lpstr>Looking ahead | 7 Ways BSNL continues to reinvent connectivity for Atmanirbhar Bharat</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ishra, Ishu Kumar</cp:lastModifiedBy>
  <cp:revision>2</cp:revision>
  <cp:lastPrinted>1999-12-31T18:30:00Z</cp:lastPrinted>
  <dcterms:created xsi:type="dcterms:W3CDTF">2025-05-15T08:39:51Z</dcterms:created>
  <dcterms:modified xsi:type="dcterms:W3CDTF">2025-11-26T13:0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5-05-15T13:06:36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6747e3d5-3e3d-4dff-b0d7-b60aa61d8d71</vt:lpwstr>
  </property>
  <property fmtid="{D5CDD505-2E9C-101B-9397-08002B2CF9AE}" pid="13" name="MSIP_Label_b0d5c4f4-7a29-4385-b7a5-afbe2154ae6f_ContentBits">
    <vt:lpwstr>0</vt:lpwstr>
  </property>
  <property fmtid="{D5CDD505-2E9C-101B-9397-08002B2CF9AE}" pid="14" name="MSIP_Label_b0d5c4f4-7a29-4385-b7a5-afbe2154ae6f_Tag">
    <vt:lpwstr>10, 3, 0, 1</vt:lpwstr>
  </property>
  <property fmtid="{D5CDD505-2E9C-101B-9397-08002B2CF9AE}" pid="15" name="MediaServiceImageTags">
    <vt:lpwstr/>
  </property>
  <property fmtid="{D5CDD505-2E9C-101B-9397-08002B2CF9AE}" pid="16" name="ContentTypeId">
    <vt:lpwstr>0x01010068AA247FB109614B9C824E32EE240D1D</vt:lpwstr>
  </property>
</Properties>
</file>